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  <p:sldMasterId id="2147483669" r:id="rId4"/>
    <p:sldMasterId id="2147483677" r:id="rId5"/>
  </p:sldMasterIdLst>
  <p:notesMasterIdLst>
    <p:notesMasterId r:id="rId15"/>
  </p:notesMasterIdLst>
  <p:sldIdLst>
    <p:sldId id="5093" r:id="rId6"/>
    <p:sldId id="4461" r:id="rId7"/>
    <p:sldId id="5068" r:id="rId8"/>
    <p:sldId id="5077" r:id="rId9"/>
    <p:sldId id="5089" r:id="rId10"/>
    <p:sldId id="5090" r:id="rId11"/>
    <p:sldId id="5091" r:id="rId12"/>
    <p:sldId id="5092" r:id="rId13"/>
    <p:sldId id="5015" r:id="rId14"/>
  </p:sldIdLst>
  <p:sldSz cx="12192000" cy="6858000"/>
  <p:notesSz cx="6858000" cy="9144000"/>
  <p:custDataLst>
    <p:tags r:id="rId1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FA58"/>
    <a:srgbClr val="FF99FF"/>
    <a:srgbClr val="ED7D31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16" autoAdjust="0"/>
    <p:restoredTop sz="95587" autoAdjust="0"/>
  </p:normalViewPr>
  <p:slideViewPr>
    <p:cSldViewPr snapToGrid="0">
      <p:cViewPr varScale="1">
        <p:scale>
          <a:sx n="80" d="100"/>
          <a:sy n="80" d="100"/>
        </p:scale>
        <p:origin x="67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9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ůměr 2015–2019</c:v>
                </c:pt>
              </c:strCache>
            </c:strRef>
          </c:tx>
          <c:spPr>
            <a:ln w="28575" cap="rnd">
              <a:solidFill>
                <a:schemeClr val="bg1">
                  <a:lumMod val="75000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55</c:f>
              <c:strCache>
                <c:ptCount val="154"/>
                <c:pt idx="0">
                  <c:v>30.12 - 5.1</c:v>
                </c:pt>
                <c:pt idx="1">
                  <c:v>6.1 - 12.1</c:v>
                </c:pt>
                <c:pt idx="2">
                  <c:v>13.1 - 19.1</c:v>
                </c:pt>
                <c:pt idx="3">
                  <c:v>20.1 - 26.1</c:v>
                </c:pt>
                <c:pt idx="4">
                  <c:v>27.1 - 2.2</c:v>
                </c:pt>
                <c:pt idx="5">
                  <c:v>3.2 - 9.2</c:v>
                </c:pt>
                <c:pt idx="6">
                  <c:v>10.2 - 16.2</c:v>
                </c:pt>
                <c:pt idx="7">
                  <c:v>17.2 - 23.2</c:v>
                </c:pt>
                <c:pt idx="8">
                  <c:v>24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  <c:pt idx="17">
                  <c:v>27.4 - 3.5</c:v>
                </c:pt>
                <c:pt idx="18">
                  <c:v>4.5 - 10.5</c:v>
                </c:pt>
                <c:pt idx="19">
                  <c:v>11.5 - 17.5</c:v>
                </c:pt>
                <c:pt idx="20">
                  <c:v>18.5 - 24.5</c:v>
                </c:pt>
                <c:pt idx="21">
                  <c:v>25.5 - 31.5</c:v>
                </c:pt>
                <c:pt idx="22">
                  <c:v>1.6 - 7.6</c:v>
                </c:pt>
                <c:pt idx="23">
                  <c:v>8.6 - 14.6</c:v>
                </c:pt>
                <c:pt idx="24">
                  <c:v>15.6 - 21.6</c:v>
                </c:pt>
                <c:pt idx="25">
                  <c:v>22.6 - 28.6</c:v>
                </c:pt>
                <c:pt idx="26">
                  <c:v>29.6 - 5.7</c:v>
                </c:pt>
                <c:pt idx="27">
                  <c:v>6.7 - 12.7</c:v>
                </c:pt>
                <c:pt idx="28">
                  <c:v>13.7 - 19.7</c:v>
                </c:pt>
                <c:pt idx="29">
                  <c:v>20.7 - 26.7</c:v>
                </c:pt>
                <c:pt idx="30">
                  <c:v>27.7 - 2.8</c:v>
                </c:pt>
                <c:pt idx="31">
                  <c:v>3.8 - 9.8</c:v>
                </c:pt>
                <c:pt idx="32">
                  <c:v>10.8 - 16.8</c:v>
                </c:pt>
                <c:pt idx="33">
                  <c:v>17.8 - 23.8</c:v>
                </c:pt>
                <c:pt idx="34">
                  <c:v>24.8 - 30.8</c:v>
                </c:pt>
                <c:pt idx="35">
                  <c:v>31.8 - 6.9</c:v>
                </c:pt>
                <c:pt idx="36">
                  <c:v>7.9 - 13.9</c:v>
                </c:pt>
                <c:pt idx="37">
                  <c:v>14.9 - 20.9</c:v>
                </c:pt>
                <c:pt idx="38">
                  <c:v>21.9 - 27.9</c:v>
                </c:pt>
                <c:pt idx="39">
                  <c:v>28.9 - 4.10</c:v>
                </c:pt>
                <c:pt idx="40">
                  <c:v>5.10 - 11.10</c:v>
                </c:pt>
                <c:pt idx="41">
                  <c:v>12.10 - 18.10</c:v>
                </c:pt>
                <c:pt idx="42">
                  <c:v>19.10 - 25.10</c:v>
                </c:pt>
                <c:pt idx="43">
                  <c:v>26.10 - 1.11</c:v>
                </c:pt>
                <c:pt idx="44">
                  <c:v>2.11 - 8.11</c:v>
                </c:pt>
                <c:pt idx="45">
                  <c:v>9.11 - 15.11</c:v>
                </c:pt>
                <c:pt idx="46">
                  <c:v>16.11 - 22.11</c:v>
                </c:pt>
                <c:pt idx="47">
                  <c:v>23.11 - 29.11</c:v>
                </c:pt>
                <c:pt idx="48">
                  <c:v>30.11 - 6.12</c:v>
                </c:pt>
                <c:pt idx="49">
                  <c:v>7.12 - 13.12</c:v>
                </c:pt>
                <c:pt idx="50">
                  <c:v>14.12 - 20.12</c:v>
                </c:pt>
                <c:pt idx="51">
                  <c:v>21.12 - 27.12</c:v>
                </c:pt>
                <c:pt idx="52">
                  <c:v>4.1 - 10.1</c:v>
                </c:pt>
                <c:pt idx="53">
                  <c:v>11.1 - 17.1</c:v>
                </c:pt>
                <c:pt idx="54">
                  <c:v>18.1 - 24.1</c:v>
                </c:pt>
                <c:pt idx="55">
                  <c:v>25.1 - 31.1</c:v>
                </c:pt>
                <c:pt idx="56">
                  <c:v>1.2 - 7.2</c:v>
                </c:pt>
                <c:pt idx="57">
                  <c:v>8.2 - 14.2</c:v>
                </c:pt>
                <c:pt idx="58">
                  <c:v>15.2 - 21.2</c:v>
                </c:pt>
                <c:pt idx="59">
                  <c:v>22.2 - 28.2</c:v>
                </c:pt>
                <c:pt idx="60">
                  <c:v>1.3 - 7.3</c:v>
                </c:pt>
                <c:pt idx="61">
                  <c:v>8.3 - 14.3</c:v>
                </c:pt>
                <c:pt idx="62">
                  <c:v>15.3 - 21.3</c:v>
                </c:pt>
                <c:pt idx="63">
                  <c:v>22.3 - 28.3</c:v>
                </c:pt>
                <c:pt idx="64">
                  <c:v>29.3 - 4.4</c:v>
                </c:pt>
                <c:pt idx="65">
                  <c:v>5.4 - 11.4</c:v>
                </c:pt>
                <c:pt idx="66">
                  <c:v>12.4 - 18.4</c:v>
                </c:pt>
                <c:pt idx="67">
                  <c:v>19.4 - 25.4</c:v>
                </c:pt>
                <c:pt idx="68">
                  <c:v>26.4 - 2.5</c:v>
                </c:pt>
                <c:pt idx="69">
                  <c:v>3.5 - 9.5</c:v>
                </c:pt>
                <c:pt idx="70">
                  <c:v>10.5 - 16.5</c:v>
                </c:pt>
                <c:pt idx="71">
                  <c:v>17.5 - 23.5</c:v>
                </c:pt>
                <c:pt idx="72">
                  <c:v>24.5 - 30.5</c:v>
                </c:pt>
                <c:pt idx="73">
                  <c:v>31.5 - 6.6</c:v>
                </c:pt>
                <c:pt idx="74">
                  <c:v>7.6. - 13.6.</c:v>
                </c:pt>
                <c:pt idx="75">
                  <c:v>14.6. - 20.6.</c:v>
                </c:pt>
                <c:pt idx="76">
                  <c:v>21.6. - 27.6.</c:v>
                </c:pt>
                <c:pt idx="77">
                  <c:v>28.6. - 4.7.</c:v>
                </c:pt>
                <c:pt idx="78">
                  <c:v>5.7. - 11.7.</c:v>
                </c:pt>
                <c:pt idx="79">
                  <c:v>12.7. - 18.7.</c:v>
                </c:pt>
                <c:pt idx="80">
                  <c:v>19.7. - 25.7.</c:v>
                </c:pt>
                <c:pt idx="81">
                  <c:v>26.7. - 1.8.</c:v>
                </c:pt>
                <c:pt idx="82">
                  <c:v>02.08. - 08.08.</c:v>
                </c:pt>
                <c:pt idx="83">
                  <c:v>09.08. - 15.08.</c:v>
                </c:pt>
                <c:pt idx="84">
                  <c:v>16.8. - 22.8.</c:v>
                </c:pt>
                <c:pt idx="85">
                  <c:v>23.08. - 29.08.</c:v>
                </c:pt>
                <c:pt idx="86">
                  <c:v>30.08. - 05.09.</c:v>
                </c:pt>
                <c:pt idx="87">
                  <c:v>6.9. - 12.9.</c:v>
                </c:pt>
                <c:pt idx="88">
                  <c:v>13.9. - 19.9.</c:v>
                </c:pt>
                <c:pt idx="89">
                  <c:v>20.9. - 26.9.</c:v>
                </c:pt>
                <c:pt idx="90">
                  <c:v>27.9. - 3.10.</c:v>
                </c:pt>
                <c:pt idx="91">
                  <c:v>4.10. - 10.10.</c:v>
                </c:pt>
                <c:pt idx="92">
                  <c:v>11.10. - 17.10.</c:v>
                </c:pt>
                <c:pt idx="93">
                  <c:v>18.10. - 24.10.</c:v>
                </c:pt>
                <c:pt idx="94">
                  <c:v>25.10. - 31.10.</c:v>
                </c:pt>
                <c:pt idx="95">
                  <c:v>1.11. - 7.11.</c:v>
                </c:pt>
                <c:pt idx="96">
                  <c:v>8.11. - 14.11.</c:v>
                </c:pt>
                <c:pt idx="97">
                  <c:v>15.11. - 21.11.</c:v>
                </c:pt>
                <c:pt idx="98">
                  <c:v>22.11. - 28.11.</c:v>
                </c:pt>
                <c:pt idx="99">
                  <c:v>29.11. - 5.12.</c:v>
                </c:pt>
                <c:pt idx="100">
                  <c:v>6.11. - 12.12.</c:v>
                </c:pt>
                <c:pt idx="101">
                  <c:v>13.12. - 19.12.</c:v>
                </c:pt>
                <c:pt idx="102">
                  <c:v>20.12. - 26.12.</c:v>
                </c:pt>
                <c:pt idx="103">
                  <c:v>3.1. - 9.1.</c:v>
                </c:pt>
                <c:pt idx="104">
                  <c:v>10.1. - 16.1.</c:v>
                </c:pt>
                <c:pt idx="105">
                  <c:v>17.1. - 23.1.</c:v>
                </c:pt>
                <c:pt idx="106">
                  <c:v>24.1. - 30.1.</c:v>
                </c:pt>
                <c:pt idx="107">
                  <c:v>31.1. - 6.2.</c:v>
                </c:pt>
                <c:pt idx="108">
                  <c:v>7.2. - 13.2.</c:v>
                </c:pt>
                <c:pt idx="109">
                  <c:v>14.2. - 20.2.</c:v>
                </c:pt>
                <c:pt idx="110">
                  <c:v>21.2. - 27.2.</c:v>
                </c:pt>
                <c:pt idx="111">
                  <c:v>28.2. - 6.3.</c:v>
                </c:pt>
                <c:pt idx="112">
                  <c:v>7.3. - 13.3.</c:v>
                </c:pt>
                <c:pt idx="113">
                  <c:v>14.3. - 20.3.</c:v>
                </c:pt>
                <c:pt idx="114">
                  <c:v>21.3. - 27.3.</c:v>
                </c:pt>
                <c:pt idx="115">
                  <c:v>28.3. - 3.4.</c:v>
                </c:pt>
                <c:pt idx="116">
                  <c:v>4.4. - 10.4.</c:v>
                </c:pt>
                <c:pt idx="117">
                  <c:v>11.4. - 17.4.</c:v>
                </c:pt>
                <c:pt idx="118">
                  <c:v>18.4. - 24.4.</c:v>
                </c:pt>
                <c:pt idx="119">
                  <c:v>25.4. - 1.5.</c:v>
                </c:pt>
                <c:pt idx="120">
                  <c:v>2.5. - 8.5.</c:v>
                </c:pt>
                <c:pt idx="121">
                  <c:v>9.5. - 15.5.</c:v>
                </c:pt>
                <c:pt idx="122">
                  <c:v>16.5. - 22.5.</c:v>
                </c:pt>
                <c:pt idx="123">
                  <c:v>23.5. - 29.5.</c:v>
                </c:pt>
                <c:pt idx="124">
                  <c:v>30.5. - 5.6.</c:v>
                </c:pt>
                <c:pt idx="125">
                  <c:v>6.6. - 12.6.</c:v>
                </c:pt>
                <c:pt idx="126">
                  <c:v>13.6. - 19.6.</c:v>
                </c:pt>
                <c:pt idx="127">
                  <c:v>20.6. - 26.6.</c:v>
                </c:pt>
                <c:pt idx="128">
                  <c:v>27.6. - 3.7.</c:v>
                </c:pt>
                <c:pt idx="129">
                  <c:v>4.7. - 10.7.</c:v>
                </c:pt>
                <c:pt idx="130">
                  <c:v>11.7. - 17.7.</c:v>
                </c:pt>
                <c:pt idx="131">
                  <c:v>18.7. - 24.7.</c:v>
                </c:pt>
                <c:pt idx="132">
                  <c:v>25.7. - 31.7.</c:v>
                </c:pt>
                <c:pt idx="133">
                  <c:v>1.8. - 7.8.</c:v>
                </c:pt>
                <c:pt idx="134">
                  <c:v>8.8. - 14.8.</c:v>
                </c:pt>
                <c:pt idx="135">
                  <c:v>15.8. - 21.8.</c:v>
                </c:pt>
                <c:pt idx="136">
                  <c:v>22.8. - 28.8.</c:v>
                </c:pt>
                <c:pt idx="137">
                  <c:v>29.8. - 4.9.</c:v>
                </c:pt>
                <c:pt idx="138">
                  <c:v>5.9. - 11.9.</c:v>
                </c:pt>
                <c:pt idx="139">
                  <c:v>12.9. - 18.9.</c:v>
                </c:pt>
                <c:pt idx="140">
                  <c:v>19.9. - 25.9.</c:v>
                </c:pt>
                <c:pt idx="141">
                  <c:v>26.9. - 2.10.</c:v>
                </c:pt>
                <c:pt idx="142">
                  <c:v>3.10. - 9.10.</c:v>
                </c:pt>
                <c:pt idx="143">
                  <c:v>10.10. - 16.10.</c:v>
                </c:pt>
                <c:pt idx="144">
                  <c:v>17.10. - 23.10.</c:v>
                </c:pt>
                <c:pt idx="145">
                  <c:v>24.10. - 30.10.</c:v>
                </c:pt>
                <c:pt idx="146">
                  <c:v>31.10. - 6.11.</c:v>
                </c:pt>
                <c:pt idx="147">
                  <c:v>7.11. - 13.11.</c:v>
                </c:pt>
                <c:pt idx="148">
                  <c:v>14.11. - 20.11.</c:v>
                </c:pt>
                <c:pt idx="149">
                  <c:v>21.11. - 27.11.</c:v>
                </c:pt>
                <c:pt idx="150">
                  <c:v>28.11. - 4.12.</c:v>
                </c:pt>
                <c:pt idx="151">
                  <c:v>5.12. - 11.12.</c:v>
                </c:pt>
                <c:pt idx="152">
                  <c:v>12.12. - 18.12.</c:v>
                </c:pt>
                <c:pt idx="153">
                  <c:v>19.12. - 25.12.</c:v>
                </c:pt>
              </c:strCache>
            </c:strRef>
          </c:cat>
          <c:val>
            <c:numRef>
              <c:f>Sheet1!$B$2:$B$155</c:f>
              <c:numCache>
                <c:formatCode>General</c:formatCode>
                <c:ptCount val="154"/>
                <c:pt idx="0">
                  <c:v>2365.4</c:v>
                </c:pt>
                <c:pt idx="1">
                  <c:v>2342.6</c:v>
                </c:pt>
                <c:pt idx="2">
                  <c:v>2389</c:v>
                </c:pt>
                <c:pt idx="3">
                  <c:v>2386.1999999999998</c:v>
                </c:pt>
                <c:pt idx="4">
                  <c:v>2405.4</c:v>
                </c:pt>
                <c:pt idx="5">
                  <c:v>2466.4</c:v>
                </c:pt>
                <c:pt idx="6">
                  <c:v>2499</c:v>
                </c:pt>
                <c:pt idx="7">
                  <c:v>2501</c:v>
                </c:pt>
                <c:pt idx="8">
                  <c:v>2465.8000000000002</c:v>
                </c:pt>
                <c:pt idx="9">
                  <c:v>2411</c:v>
                </c:pt>
                <c:pt idx="10">
                  <c:v>2330.8000000000002</c:v>
                </c:pt>
                <c:pt idx="11">
                  <c:v>2265.8000000000002</c:v>
                </c:pt>
                <c:pt idx="12">
                  <c:v>2199</c:v>
                </c:pt>
                <c:pt idx="13">
                  <c:v>2161.8000000000002</c:v>
                </c:pt>
                <c:pt idx="14">
                  <c:v>2116.4</c:v>
                </c:pt>
                <c:pt idx="15">
                  <c:v>2066</c:v>
                </c:pt>
                <c:pt idx="16">
                  <c:v>2110.1999999999998</c:v>
                </c:pt>
                <c:pt idx="17">
                  <c:v>2027.4</c:v>
                </c:pt>
                <c:pt idx="18">
                  <c:v>2022.8</c:v>
                </c:pt>
                <c:pt idx="19">
                  <c:v>1981.6</c:v>
                </c:pt>
                <c:pt idx="20">
                  <c:v>1986.6</c:v>
                </c:pt>
                <c:pt idx="21">
                  <c:v>2038.4</c:v>
                </c:pt>
                <c:pt idx="22">
                  <c:v>1956.4</c:v>
                </c:pt>
                <c:pt idx="23">
                  <c:v>1957.4</c:v>
                </c:pt>
                <c:pt idx="24">
                  <c:v>1948</c:v>
                </c:pt>
                <c:pt idx="25">
                  <c:v>1961.2</c:v>
                </c:pt>
                <c:pt idx="26">
                  <c:v>1982.8</c:v>
                </c:pt>
                <c:pt idx="27">
                  <c:v>1988</c:v>
                </c:pt>
                <c:pt idx="28">
                  <c:v>1993.8</c:v>
                </c:pt>
                <c:pt idx="29">
                  <c:v>2029</c:v>
                </c:pt>
                <c:pt idx="30">
                  <c:v>2035.8</c:v>
                </c:pt>
                <c:pt idx="31">
                  <c:v>2019.8</c:v>
                </c:pt>
                <c:pt idx="32">
                  <c:v>2056</c:v>
                </c:pt>
                <c:pt idx="33">
                  <c:v>1962</c:v>
                </c:pt>
                <c:pt idx="34">
                  <c:v>1956.4</c:v>
                </c:pt>
                <c:pt idx="35">
                  <c:v>1958</c:v>
                </c:pt>
                <c:pt idx="36">
                  <c:v>1960.2</c:v>
                </c:pt>
                <c:pt idx="37">
                  <c:v>1987.8</c:v>
                </c:pt>
                <c:pt idx="38">
                  <c:v>2018.2</c:v>
                </c:pt>
                <c:pt idx="39">
                  <c:v>2101.8000000000002</c:v>
                </c:pt>
                <c:pt idx="40">
                  <c:v>2109.4</c:v>
                </c:pt>
                <c:pt idx="41">
                  <c:v>2072.8000000000002</c:v>
                </c:pt>
                <c:pt idx="42">
                  <c:v>2079.4</c:v>
                </c:pt>
                <c:pt idx="43">
                  <c:v>2056</c:v>
                </c:pt>
                <c:pt idx="44">
                  <c:v>2036.8</c:v>
                </c:pt>
                <c:pt idx="45">
                  <c:v>2087.1999999999998</c:v>
                </c:pt>
                <c:pt idx="46">
                  <c:v>2088.8000000000002</c:v>
                </c:pt>
                <c:pt idx="47">
                  <c:v>2089.8000000000002</c:v>
                </c:pt>
                <c:pt idx="48">
                  <c:v>2118.6</c:v>
                </c:pt>
                <c:pt idx="49">
                  <c:v>2160.1999999999998</c:v>
                </c:pt>
                <c:pt idx="50">
                  <c:v>2222.8000000000002</c:v>
                </c:pt>
                <c:pt idx="51">
                  <c:v>2248</c:v>
                </c:pt>
                <c:pt idx="52">
                  <c:v>2365.4</c:v>
                </c:pt>
                <c:pt idx="53">
                  <c:v>2342.6</c:v>
                </c:pt>
                <c:pt idx="54">
                  <c:v>2389</c:v>
                </c:pt>
                <c:pt idx="55">
                  <c:v>2386.1999999999998</c:v>
                </c:pt>
                <c:pt idx="56">
                  <c:v>2405.4</c:v>
                </c:pt>
                <c:pt idx="57">
                  <c:v>2466.4</c:v>
                </c:pt>
                <c:pt idx="58">
                  <c:v>2499</c:v>
                </c:pt>
                <c:pt idx="59">
                  <c:v>2501</c:v>
                </c:pt>
                <c:pt idx="60">
                  <c:v>2465.8000000000002</c:v>
                </c:pt>
                <c:pt idx="61">
                  <c:v>2411</c:v>
                </c:pt>
                <c:pt idx="62">
                  <c:v>2330.8000000000002</c:v>
                </c:pt>
                <c:pt idx="63">
                  <c:v>2265.8000000000002</c:v>
                </c:pt>
                <c:pt idx="64">
                  <c:v>2199</c:v>
                </c:pt>
                <c:pt idx="65">
                  <c:v>2161.8000000000002</c:v>
                </c:pt>
                <c:pt idx="66">
                  <c:v>2116.4</c:v>
                </c:pt>
                <c:pt idx="67">
                  <c:v>2066</c:v>
                </c:pt>
                <c:pt idx="68">
                  <c:v>2110.1999999999998</c:v>
                </c:pt>
                <c:pt idx="69">
                  <c:v>2027.4</c:v>
                </c:pt>
                <c:pt idx="70">
                  <c:v>2022.8</c:v>
                </c:pt>
                <c:pt idx="71">
                  <c:v>1981.6</c:v>
                </c:pt>
                <c:pt idx="72">
                  <c:v>1986.6</c:v>
                </c:pt>
                <c:pt idx="73">
                  <c:v>2038.4</c:v>
                </c:pt>
                <c:pt idx="74">
                  <c:v>1956.4</c:v>
                </c:pt>
                <c:pt idx="75">
                  <c:v>1957.4</c:v>
                </c:pt>
                <c:pt idx="76">
                  <c:v>1948</c:v>
                </c:pt>
                <c:pt idx="77">
                  <c:v>1961.2</c:v>
                </c:pt>
                <c:pt idx="78">
                  <c:v>1982.8</c:v>
                </c:pt>
                <c:pt idx="79">
                  <c:v>1988</c:v>
                </c:pt>
                <c:pt idx="80">
                  <c:v>1993.8</c:v>
                </c:pt>
                <c:pt idx="81">
                  <c:v>2029</c:v>
                </c:pt>
                <c:pt idx="82">
                  <c:v>2035.8</c:v>
                </c:pt>
                <c:pt idx="83">
                  <c:v>2019.8</c:v>
                </c:pt>
                <c:pt idx="84">
                  <c:v>2056</c:v>
                </c:pt>
                <c:pt idx="85">
                  <c:v>1962</c:v>
                </c:pt>
                <c:pt idx="86">
                  <c:v>1956.4</c:v>
                </c:pt>
                <c:pt idx="87">
                  <c:v>1958</c:v>
                </c:pt>
                <c:pt idx="88">
                  <c:v>1960.2</c:v>
                </c:pt>
                <c:pt idx="89">
                  <c:v>1987.8</c:v>
                </c:pt>
                <c:pt idx="90">
                  <c:v>2018.2</c:v>
                </c:pt>
                <c:pt idx="91">
                  <c:v>2101.8000000000002</c:v>
                </c:pt>
                <c:pt idx="92">
                  <c:v>2109.4</c:v>
                </c:pt>
                <c:pt idx="93">
                  <c:v>2072.8000000000002</c:v>
                </c:pt>
                <c:pt idx="94">
                  <c:v>2079.4</c:v>
                </c:pt>
                <c:pt idx="95">
                  <c:v>2056</c:v>
                </c:pt>
                <c:pt idx="96">
                  <c:v>2036.8</c:v>
                </c:pt>
                <c:pt idx="97">
                  <c:v>2087.1999999999998</c:v>
                </c:pt>
                <c:pt idx="98">
                  <c:v>2088.8000000000002</c:v>
                </c:pt>
                <c:pt idx="99">
                  <c:v>2089.8000000000002</c:v>
                </c:pt>
                <c:pt idx="100">
                  <c:v>2118.6</c:v>
                </c:pt>
                <c:pt idx="101">
                  <c:v>2160.1999999999998</c:v>
                </c:pt>
                <c:pt idx="102">
                  <c:v>2222.8000000000002</c:v>
                </c:pt>
                <c:pt idx="103">
                  <c:v>2365.4</c:v>
                </c:pt>
                <c:pt idx="104">
                  <c:v>2342.6</c:v>
                </c:pt>
                <c:pt idx="105">
                  <c:v>2389</c:v>
                </c:pt>
                <c:pt idx="106">
                  <c:v>2386.1999999999998</c:v>
                </c:pt>
                <c:pt idx="107">
                  <c:v>2405.4</c:v>
                </c:pt>
                <c:pt idx="108">
                  <c:v>2466.4</c:v>
                </c:pt>
                <c:pt idx="109">
                  <c:v>2499</c:v>
                </c:pt>
                <c:pt idx="110">
                  <c:v>2501</c:v>
                </c:pt>
                <c:pt idx="111">
                  <c:v>2465.8000000000002</c:v>
                </c:pt>
                <c:pt idx="112">
                  <c:v>2411</c:v>
                </c:pt>
                <c:pt idx="113">
                  <c:v>2330.8000000000002</c:v>
                </c:pt>
                <c:pt idx="114">
                  <c:v>2265.8000000000002</c:v>
                </c:pt>
                <c:pt idx="115">
                  <c:v>2199</c:v>
                </c:pt>
                <c:pt idx="116">
                  <c:v>2161.8000000000002</c:v>
                </c:pt>
                <c:pt idx="117">
                  <c:v>2116.4</c:v>
                </c:pt>
                <c:pt idx="118">
                  <c:v>2066</c:v>
                </c:pt>
                <c:pt idx="119">
                  <c:v>2110.1999999999998</c:v>
                </c:pt>
                <c:pt idx="120">
                  <c:v>2027.4</c:v>
                </c:pt>
                <c:pt idx="121">
                  <c:v>2022.8</c:v>
                </c:pt>
                <c:pt idx="122">
                  <c:v>1981.6</c:v>
                </c:pt>
                <c:pt idx="123">
                  <c:v>1986.6</c:v>
                </c:pt>
                <c:pt idx="124">
                  <c:v>2038.4</c:v>
                </c:pt>
                <c:pt idx="125">
                  <c:v>1956.4</c:v>
                </c:pt>
                <c:pt idx="126">
                  <c:v>1957.4</c:v>
                </c:pt>
                <c:pt idx="127">
                  <c:v>1948</c:v>
                </c:pt>
                <c:pt idx="128">
                  <c:v>1961.2</c:v>
                </c:pt>
                <c:pt idx="129">
                  <c:v>1982.8</c:v>
                </c:pt>
                <c:pt idx="130">
                  <c:v>1988</c:v>
                </c:pt>
                <c:pt idx="131">
                  <c:v>1993.8</c:v>
                </c:pt>
                <c:pt idx="132">
                  <c:v>2029</c:v>
                </c:pt>
                <c:pt idx="133">
                  <c:v>2035.8</c:v>
                </c:pt>
                <c:pt idx="134">
                  <c:v>2019.8</c:v>
                </c:pt>
                <c:pt idx="135">
                  <c:v>2056</c:v>
                </c:pt>
                <c:pt idx="136">
                  <c:v>1962</c:v>
                </c:pt>
                <c:pt idx="137">
                  <c:v>1956.4</c:v>
                </c:pt>
                <c:pt idx="138">
                  <c:v>1958</c:v>
                </c:pt>
                <c:pt idx="139">
                  <c:v>1960.2</c:v>
                </c:pt>
                <c:pt idx="140">
                  <c:v>1987.8</c:v>
                </c:pt>
                <c:pt idx="141">
                  <c:v>2018.2</c:v>
                </c:pt>
                <c:pt idx="142">
                  <c:v>2101.8000000000002</c:v>
                </c:pt>
                <c:pt idx="143">
                  <c:v>2109.4</c:v>
                </c:pt>
                <c:pt idx="144">
                  <c:v>2072.8000000000002</c:v>
                </c:pt>
                <c:pt idx="145">
                  <c:v>2079.4</c:v>
                </c:pt>
                <c:pt idx="146">
                  <c:v>2056</c:v>
                </c:pt>
                <c:pt idx="147">
                  <c:v>2036.8</c:v>
                </c:pt>
                <c:pt idx="148">
                  <c:v>2087.1999999999998</c:v>
                </c:pt>
                <c:pt idx="149">
                  <c:v>2088.8000000000002</c:v>
                </c:pt>
                <c:pt idx="150">
                  <c:v>2089.8000000000002</c:v>
                </c:pt>
                <c:pt idx="151">
                  <c:v>2118.6</c:v>
                </c:pt>
                <c:pt idx="152">
                  <c:v>2160.1999999999998</c:v>
                </c:pt>
                <c:pt idx="153">
                  <c:v>2222.8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02-4B9B-82C1-6355A3A3D90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155</c:f>
              <c:strCache>
                <c:ptCount val="154"/>
                <c:pt idx="0">
                  <c:v>30.12 - 5.1</c:v>
                </c:pt>
                <c:pt idx="1">
                  <c:v>6.1 - 12.1</c:v>
                </c:pt>
                <c:pt idx="2">
                  <c:v>13.1 - 19.1</c:v>
                </c:pt>
                <c:pt idx="3">
                  <c:v>20.1 - 26.1</c:v>
                </c:pt>
                <c:pt idx="4">
                  <c:v>27.1 - 2.2</c:v>
                </c:pt>
                <c:pt idx="5">
                  <c:v>3.2 - 9.2</c:v>
                </c:pt>
                <c:pt idx="6">
                  <c:v>10.2 - 16.2</c:v>
                </c:pt>
                <c:pt idx="7">
                  <c:v>17.2 - 23.2</c:v>
                </c:pt>
                <c:pt idx="8">
                  <c:v>24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  <c:pt idx="17">
                  <c:v>27.4 - 3.5</c:v>
                </c:pt>
                <c:pt idx="18">
                  <c:v>4.5 - 10.5</c:v>
                </c:pt>
                <c:pt idx="19">
                  <c:v>11.5 - 17.5</c:v>
                </c:pt>
                <c:pt idx="20">
                  <c:v>18.5 - 24.5</c:v>
                </c:pt>
                <c:pt idx="21">
                  <c:v>25.5 - 31.5</c:v>
                </c:pt>
                <c:pt idx="22">
                  <c:v>1.6 - 7.6</c:v>
                </c:pt>
                <c:pt idx="23">
                  <c:v>8.6 - 14.6</c:v>
                </c:pt>
                <c:pt idx="24">
                  <c:v>15.6 - 21.6</c:v>
                </c:pt>
                <c:pt idx="25">
                  <c:v>22.6 - 28.6</c:v>
                </c:pt>
                <c:pt idx="26">
                  <c:v>29.6 - 5.7</c:v>
                </c:pt>
                <c:pt idx="27">
                  <c:v>6.7 - 12.7</c:v>
                </c:pt>
                <c:pt idx="28">
                  <c:v>13.7 - 19.7</c:v>
                </c:pt>
                <c:pt idx="29">
                  <c:v>20.7 - 26.7</c:v>
                </c:pt>
                <c:pt idx="30">
                  <c:v>27.7 - 2.8</c:v>
                </c:pt>
                <c:pt idx="31">
                  <c:v>3.8 - 9.8</c:v>
                </c:pt>
                <c:pt idx="32">
                  <c:v>10.8 - 16.8</c:v>
                </c:pt>
                <c:pt idx="33">
                  <c:v>17.8 - 23.8</c:v>
                </c:pt>
                <c:pt idx="34">
                  <c:v>24.8 - 30.8</c:v>
                </c:pt>
                <c:pt idx="35">
                  <c:v>31.8 - 6.9</c:v>
                </c:pt>
                <c:pt idx="36">
                  <c:v>7.9 - 13.9</c:v>
                </c:pt>
                <c:pt idx="37">
                  <c:v>14.9 - 20.9</c:v>
                </c:pt>
                <c:pt idx="38">
                  <c:v>21.9 - 27.9</c:v>
                </c:pt>
                <c:pt idx="39">
                  <c:v>28.9 - 4.10</c:v>
                </c:pt>
                <c:pt idx="40">
                  <c:v>5.10 - 11.10</c:v>
                </c:pt>
                <c:pt idx="41">
                  <c:v>12.10 - 18.10</c:v>
                </c:pt>
                <c:pt idx="42">
                  <c:v>19.10 - 25.10</c:v>
                </c:pt>
                <c:pt idx="43">
                  <c:v>26.10 - 1.11</c:v>
                </c:pt>
                <c:pt idx="44">
                  <c:v>2.11 - 8.11</c:v>
                </c:pt>
                <c:pt idx="45">
                  <c:v>9.11 - 15.11</c:v>
                </c:pt>
                <c:pt idx="46">
                  <c:v>16.11 - 22.11</c:v>
                </c:pt>
                <c:pt idx="47">
                  <c:v>23.11 - 29.11</c:v>
                </c:pt>
                <c:pt idx="48">
                  <c:v>30.11 - 6.12</c:v>
                </c:pt>
                <c:pt idx="49">
                  <c:v>7.12 - 13.12</c:v>
                </c:pt>
                <c:pt idx="50">
                  <c:v>14.12 - 20.12</c:v>
                </c:pt>
                <c:pt idx="51">
                  <c:v>21.12 - 27.12</c:v>
                </c:pt>
                <c:pt idx="52">
                  <c:v>4.1 - 10.1</c:v>
                </c:pt>
                <c:pt idx="53">
                  <c:v>11.1 - 17.1</c:v>
                </c:pt>
                <c:pt idx="54">
                  <c:v>18.1 - 24.1</c:v>
                </c:pt>
                <c:pt idx="55">
                  <c:v>25.1 - 31.1</c:v>
                </c:pt>
                <c:pt idx="56">
                  <c:v>1.2 - 7.2</c:v>
                </c:pt>
                <c:pt idx="57">
                  <c:v>8.2 - 14.2</c:v>
                </c:pt>
                <c:pt idx="58">
                  <c:v>15.2 - 21.2</c:v>
                </c:pt>
                <c:pt idx="59">
                  <c:v>22.2 - 28.2</c:v>
                </c:pt>
                <c:pt idx="60">
                  <c:v>1.3 - 7.3</c:v>
                </c:pt>
                <c:pt idx="61">
                  <c:v>8.3 - 14.3</c:v>
                </c:pt>
                <c:pt idx="62">
                  <c:v>15.3 - 21.3</c:v>
                </c:pt>
                <c:pt idx="63">
                  <c:v>22.3 - 28.3</c:v>
                </c:pt>
                <c:pt idx="64">
                  <c:v>29.3 - 4.4</c:v>
                </c:pt>
                <c:pt idx="65">
                  <c:v>5.4 - 11.4</c:v>
                </c:pt>
                <c:pt idx="66">
                  <c:v>12.4 - 18.4</c:v>
                </c:pt>
                <c:pt idx="67">
                  <c:v>19.4 - 25.4</c:v>
                </c:pt>
                <c:pt idx="68">
                  <c:v>26.4 - 2.5</c:v>
                </c:pt>
                <c:pt idx="69">
                  <c:v>3.5 - 9.5</c:v>
                </c:pt>
                <c:pt idx="70">
                  <c:v>10.5 - 16.5</c:v>
                </c:pt>
                <c:pt idx="71">
                  <c:v>17.5 - 23.5</c:v>
                </c:pt>
                <c:pt idx="72">
                  <c:v>24.5 - 30.5</c:v>
                </c:pt>
                <c:pt idx="73">
                  <c:v>31.5 - 6.6</c:v>
                </c:pt>
                <c:pt idx="74">
                  <c:v>7.6. - 13.6.</c:v>
                </c:pt>
                <c:pt idx="75">
                  <c:v>14.6. - 20.6.</c:v>
                </c:pt>
                <c:pt idx="76">
                  <c:v>21.6. - 27.6.</c:v>
                </c:pt>
                <c:pt idx="77">
                  <c:v>28.6. - 4.7.</c:v>
                </c:pt>
                <c:pt idx="78">
                  <c:v>5.7. - 11.7.</c:v>
                </c:pt>
                <c:pt idx="79">
                  <c:v>12.7. - 18.7.</c:v>
                </c:pt>
                <c:pt idx="80">
                  <c:v>19.7. - 25.7.</c:v>
                </c:pt>
                <c:pt idx="81">
                  <c:v>26.7. - 1.8.</c:v>
                </c:pt>
                <c:pt idx="82">
                  <c:v>02.08. - 08.08.</c:v>
                </c:pt>
                <c:pt idx="83">
                  <c:v>09.08. - 15.08.</c:v>
                </c:pt>
                <c:pt idx="84">
                  <c:v>16.8. - 22.8.</c:v>
                </c:pt>
                <c:pt idx="85">
                  <c:v>23.08. - 29.08.</c:v>
                </c:pt>
                <c:pt idx="86">
                  <c:v>30.08. - 05.09.</c:v>
                </c:pt>
                <c:pt idx="87">
                  <c:v>6.9. - 12.9.</c:v>
                </c:pt>
                <c:pt idx="88">
                  <c:v>13.9. - 19.9.</c:v>
                </c:pt>
                <c:pt idx="89">
                  <c:v>20.9. - 26.9.</c:v>
                </c:pt>
                <c:pt idx="90">
                  <c:v>27.9. - 3.10.</c:v>
                </c:pt>
                <c:pt idx="91">
                  <c:v>4.10. - 10.10.</c:v>
                </c:pt>
                <c:pt idx="92">
                  <c:v>11.10. - 17.10.</c:v>
                </c:pt>
                <c:pt idx="93">
                  <c:v>18.10. - 24.10.</c:v>
                </c:pt>
                <c:pt idx="94">
                  <c:v>25.10. - 31.10.</c:v>
                </c:pt>
                <c:pt idx="95">
                  <c:v>1.11. - 7.11.</c:v>
                </c:pt>
                <c:pt idx="96">
                  <c:v>8.11. - 14.11.</c:v>
                </c:pt>
                <c:pt idx="97">
                  <c:v>15.11. - 21.11.</c:v>
                </c:pt>
                <c:pt idx="98">
                  <c:v>22.11. - 28.11.</c:v>
                </c:pt>
                <c:pt idx="99">
                  <c:v>29.11. - 5.12.</c:v>
                </c:pt>
                <c:pt idx="100">
                  <c:v>6.11. - 12.12.</c:v>
                </c:pt>
                <c:pt idx="101">
                  <c:v>13.12. - 19.12.</c:v>
                </c:pt>
                <c:pt idx="102">
                  <c:v>20.12. - 26.12.</c:v>
                </c:pt>
                <c:pt idx="103">
                  <c:v>3.1. - 9.1.</c:v>
                </c:pt>
                <c:pt idx="104">
                  <c:v>10.1. - 16.1.</c:v>
                </c:pt>
                <c:pt idx="105">
                  <c:v>17.1. - 23.1.</c:v>
                </c:pt>
                <c:pt idx="106">
                  <c:v>24.1. - 30.1.</c:v>
                </c:pt>
                <c:pt idx="107">
                  <c:v>31.1. - 6.2.</c:v>
                </c:pt>
                <c:pt idx="108">
                  <c:v>7.2. - 13.2.</c:v>
                </c:pt>
                <c:pt idx="109">
                  <c:v>14.2. - 20.2.</c:v>
                </c:pt>
                <c:pt idx="110">
                  <c:v>21.2. - 27.2.</c:v>
                </c:pt>
                <c:pt idx="111">
                  <c:v>28.2. - 6.3.</c:v>
                </c:pt>
                <c:pt idx="112">
                  <c:v>7.3. - 13.3.</c:v>
                </c:pt>
                <c:pt idx="113">
                  <c:v>14.3. - 20.3.</c:v>
                </c:pt>
                <c:pt idx="114">
                  <c:v>21.3. - 27.3.</c:v>
                </c:pt>
                <c:pt idx="115">
                  <c:v>28.3. - 3.4.</c:v>
                </c:pt>
                <c:pt idx="116">
                  <c:v>4.4. - 10.4.</c:v>
                </c:pt>
                <c:pt idx="117">
                  <c:v>11.4. - 17.4.</c:v>
                </c:pt>
                <c:pt idx="118">
                  <c:v>18.4. - 24.4.</c:v>
                </c:pt>
                <c:pt idx="119">
                  <c:v>25.4. - 1.5.</c:v>
                </c:pt>
                <c:pt idx="120">
                  <c:v>2.5. - 8.5.</c:v>
                </c:pt>
                <c:pt idx="121">
                  <c:v>9.5. - 15.5.</c:v>
                </c:pt>
                <c:pt idx="122">
                  <c:v>16.5. - 22.5.</c:v>
                </c:pt>
                <c:pt idx="123">
                  <c:v>23.5. - 29.5.</c:v>
                </c:pt>
                <c:pt idx="124">
                  <c:v>30.5. - 5.6.</c:v>
                </c:pt>
                <c:pt idx="125">
                  <c:v>6.6. - 12.6.</c:v>
                </c:pt>
                <c:pt idx="126">
                  <c:v>13.6. - 19.6.</c:v>
                </c:pt>
                <c:pt idx="127">
                  <c:v>20.6. - 26.6.</c:v>
                </c:pt>
                <c:pt idx="128">
                  <c:v>27.6. - 3.7.</c:v>
                </c:pt>
                <c:pt idx="129">
                  <c:v>4.7. - 10.7.</c:v>
                </c:pt>
                <c:pt idx="130">
                  <c:v>11.7. - 17.7.</c:v>
                </c:pt>
                <c:pt idx="131">
                  <c:v>18.7. - 24.7.</c:v>
                </c:pt>
                <c:pt idx="132">
                  <c:v>25.7. - 31.7.</c:v>
                </c:pt>
                <c:pt idx="133">
                  <c:v>1.8. - 7.8.</c:v>
                </c:pt>
                <c:pt idx="134">
                  <c:v>8.8. - 14.8.</c:v>
                </c:pt>
                <c:pt idx="135">
                  <c:v>15.8. - 21.8.</c:v>
                </c:pt>
                <c:pt idx="136">
                  <c:v>22.8. - 28.8.</c:v>
                </c:pt>
                <c:pt idx="137">
                  <c:v>29.8. - 4.9.</c:v>
                </c:pt>
                <c:pt idx="138">
                  <c:v>5.9. - 11.9.</c:v>
                </c:pt>
                <c:pt idx="139">
                  <c:v>12.9. - 18.9.</c:v>
                </c:pt>
                <c:pt idx="140">
                  <c:v>19.9. - 25.9.</c:v>
                </c:pt>
                <c:pt idx="141">
                  <c:v>26.9. - 2.10.</c:v>
                </c:pt>
                <c:pt idx="142">
                  <c:v>3.10. - 9.10.</c:v>
                </c:pt>
                <c:pt idx="143">
                  <c:v>10.10. - 16.10.</c:v>
                </c:pt>
                <c:pt idx="144">
                  <c:v>17.10. - 23.10.</c:v>
                </c:pt>
                <c:pt idx="145">
                  <c:v>24.10. - 30.10.</c:v>
                </c:pt>
                <c:pt idx="146">
                  <c:v>31.10. - 6.11.</c:v>
                </c:pt>
                <c:pt idx="147">
                  <c:v>7.11. - 13.11.</c:v>
                </c:pt>
                <c:pt idx="148">
                  <c:v>14.11. - 20.11.</c:v>
                </c:pt>
                <c:pt idx="149">
                  <c:v>21.11. - 27.11.</c:v>
                </c:pt>
                <c:pt idx="150">
                  <c:v>28.11. - 4.12.</c:v>
                </c:pt>
                <c:pt idx="151">
                  <c:v>5.12. - 11.12.</c:v>
                </c:pt>
                <c:pt idx="152">
                  <c:v>12.12. - 18.12.</c:v>
                </c:pt>
                <c:pt idx="153">
                  <c:v>19.12. - 25.12.</c:v>
                </c:pt>
              </c:strCache>
            </c:strRef>
          </c:cat>
          <c:val>
            <c:numRef>
              <c:f>Sheet1!$C$2:$C$155</c:f>
              <c:numCache>
                <c:formatCode>General</c:formatCode>
                <c:ptCount val="154"/>
                <c:pt idx="0">
                  <c:v>2305</c:v>
                </c:pt>
                <c:pt idx="1">
                  <c:v>2325</c:v>
                </c:pt>
                <c:pt idx="2">
                  <c:v>2244</c:v>
                </c:pt>
                <c:pt idx="3">
                  <c:v>2337</c:v>
                </c:pt>
                <c:pt idx="4">
                  <c:v>2364</c:v>
                </c:pt>
                <c:pt idx="5">
                  <c:v>2355</c:v>
                </c:pt>
                <c:pt idx="6">
                  <c:v>2391</c:v>
                </c:pt>
                <c:pt idx="7">
                  <c:v>2350</c:v>
                </c:pt>
                <c:pt idx="8">
                  <c:v>2360</c:v>
                </c:pt>
                <c:pt idx="9">
                  <c:v>2294</c:v>
                </c:pt>
                <c:pt idx="10">
                  <c:v>2295</c:v>
                </c:pt>
                <c:pt idx="11">
                  <c:v>2325</c:v>
                </c:pt>
                <c:pt idx="12">
                  <c:v>2297</c:v>
                </c:pt>
                <c:pt idx="13">
                  <c:v>2320</c:v>
                </c:pt>
                <c:pt idx="14">
                  <c:v>2244</c:v>
                </c:pt>
                <c:pt idx="15">
                  <c:v>2125</c:v>
                </c:pt>
                <c:pt idx="16">
                  <c:v>2036</c:v>
                </c:pt>
                <c:pt idx="17">
                  <c:v>2109</c:v>
                </c:pt>
                <c:pt idx="18">
                  <c:v>1999</c:v>
                </c:pt>
                <c:pt idx="19">
                  <c:v>2026</c:v>
                </c:pt>
                <c:pt idx="20">
                  <c:v>1919</c:v>
                </c:pt>
                <c:pt idx="21">
                  <c:v>1939</c:v>
                </c:pt>
                <c:pt idx="22">
                  <c:v>2135</c:v>
                </c:pt>
                <c:pt idx="23">
                  <c:v>1983</c:v>
                </c:pt>
                <c:pt idx="24">
                  <c:v>2022</c:v>
                </c:pt>
                <c:pt idx="25">
                  <c:v>2082</c:v>
                </c:pt>
                <c:pt idx="26">
                  <c:v>2111</c:v>
                </c:pt>
                <c:pt idx="27">
                  <c:v>1999</c:v>
                </c:pt>
                <c:pt idx="28">
                  <c:v>1989</c:v>
                </c:pt>
                <c:pt idx="29">
                  <c:v>2088</c:v>
                </c:pt>
                <c:pt idx="30">
                  <c:v>2227</c:v>
                </c:pt>
                <c:pt idx="31">
                  <c:v>2166</c:v>
                </c:pt>
                <c:pt idx="32">
                  <c:v>2187</c:v>
                </c:pt>
                <c:pt idx="33">
                  <c:v>2104</c:v>
                </c:pt>
                <c:pt idx="34">
                  <c:v>2033</c:v>
                </c:pt>
                <c:pt idx="35">
                  <c:v>2038</c:v>
                </c:pt>
                <c:pt idx="36">
                  <c:v>2089</c:v>
                </c:pt>
                <c:pt idx="37">
                  <c:v>2220</c:v>
                </c:pt>
                <c:pt idx="38">
                  <c:v>2392</c:v>
                </c:pt>
                <c:pt idx="39">
                  <c:v>2381</c:v>
                </c:pt>
                <c:pt idx="40">
                  <c:v>2609</c:v>
                </c:pt>
                <c:pt idx="41">
                  <c:v>2946</c:v>
                </c:pt>
                <c:pt idx="42">
                  <c:v>3647</c:v>
                </c:pt>
                <c:pt idx="43">
                  <c:v>4226</c:v>
                </c:pt>
                <c:pt idx="44">
                  <c:v>4238</c:v>
                </c:pt>
                <c:pt idx="45">
                  <c:v>3852</c:v>
                </c:pt>
                <c:pt idx="46">
                  <c:v>3424</c:v>
                </c:pt>
                <c:pt idx="47">
                  <c:v>3169</c:v>
                </c:pt>
                <c:pt idx="48">
                  <c:v>3100</c:v>
                </c:pt>
                <c:pt idx="49">
                  <c:v>3104</c:v>
                </c:pt>
                <c:pt idx="50">
                  <c:v>3242</c:v>
                </c:pt>
                <c:pt idx="51">
                  <c:v>3214</c:v>
                </c:pt>
                <c:pt idx="52">
                  <c:v>3846</c:v>
                </c:pt>
                <c:pt idx="53">
                  <c:v>3751</c:v>
                </c:pt>
                <c:pt idx="54">
                  <c:v>3598</c:v>
                </c:pt>
                <c:pt idx="55">
                  <c:v>3449</c:v>
                </c:pt>
                <c:pt idx="56">
                  <c:v>3274</c:v>
                </c:pt>
                <c:pt idx="57">
                  <c:v>3443</c:v>
                </c:pt>
                <c:pt idx="58">
                  <c:v>3472</c:v>
                </c:pt>
                <c:pt idx="59">
                  <c:v>3631</c:v>
                </c:pt>
                <c:pt idx="60">
                  <c:v>3919</c:v>
                </c:pt>
                <c:pt idx="61">
                  <c:v>4028</c:v>
                </c:pt>
                <c:pt idx="62">
                  <c:v>3835</c:v>
                </c:pt>
                <c:pt idx="63">
                  <c:v>3470</c:v>
                </c:pt>
                <c:pt idx="64">
                  <c:v>3389</c:v>
                </c:pt>
                <c:pt idx="65">
                  <c:v>2947</c:v>
                </c:pt>
                <c:pt idx="66">
                  <c:v>2639</c:v>
                </c:pt>
                <c:pt idx="67">
                  <c:v>2511</c:v>
                </c:pt>
                <c:pt idx="68">
                  <c:v>2475</c:v>
                </c:pt>
                <c:pt idx="69">
                  <c:v>2305</c:v>
                </c:pt>
                <c:pt idx="70">
                  <c:v>2247</c:v>
                </c:pt>
                <c:pt idx="71">
                  <c:v>2052</c:v>
                </c:pt>
                <c:pt idx="72">
                  <c:v>1959</c:v>
                </c:pt>
                <c:pt idx="73">
                  <c:v>2054</c:v>
                </c:pt>
                <c:pt idx="74">
                  <c:v>1967</c:v>
                </c:pt>
                <c:pt idx="75">
                  <c:v>2055</c:v>
                </c:pt>
                <c:pt idx="76">
                  <c:v>2002</c:v>
                </c:pt>
                <c:pt idx="77">
                  <c:v>1887</c:v>
                </c:pt>
                <c:pt idx="78">
                  <c:v>1935</c:v>
                </c:pt>
                <c:pt idx="79">
                  <c:v>2030</c:v>
                </c:pt>
                <c:pt idx="80">
                  <c:v>1959</c:v>
                </c:pt>
                <c:pt idx="81">
                  <c:v>2107</c:v>
                </c:pt>
                <c:pt idx="82">
                  <c:v>1912</c:v>
                </c:pt>
                <c:pt idx="83">
                  <c:v>2032</c:v>
                </c:pt>
                <c:pt idx="84">
                  <c:v>1983</c:v>
                </c:pt>
                <c:pt idx="85">
                  <c:v>1955</c:v>
                </c:pt>
                <c:pt idx="86">
                  <c:v>1999</c:v>
                </c:pt>
                <c:pt idx="87">
                  <c:v>2074</c:v>
                </c:pt>
                <c:pt idx="88">
                  <c:v>2125</c:v>
                </c:pt>
                <c:pt idx="89">
                  <c:v>2098</c:v>
                </c:pt>
                <c:pt idx="90">
                  <c:v>2074</c:v>
                </c:pt>
                <c:pt idx="91">
                  <c:v>2112</c:v>
                </c:pt>
                <c:pt idx="92">
                  <c:v>2217</c:v>
                </c:pt>
                <c:pt idx="93">
                  <c:v>2311</c:v>
                </c:pt>
                <c:pt idx="94">
                  <c:v>2570</c:v>
                </c:pt>
                <c:pt idx="95">
                  <c:v>2691</c:v>
                </c:pt>
                <c:pt idx="96">
                  <c:v>2883</c:v>
                </c:pt>
                <c:pt idx="97">
                  <c:v>3047</c:v>
                </c:pt>
                <c:pt idx="98">
                  <c:v>3235</c:v>
                </c:pt>
                <c:pt idx="99">
                  <c:v>3388</c:v>
                </c:pt>
                <c:pt idx="100">
                  <c:v>3370</c:v>
                </c:pt>
                <c:pt idx="101">
                  <c:v>3132</c:v>
                </c:pt>
                <c:pt idx="102">
                  <c:v>2937</c:v>
                </c:pt>
                <c:pt idx="103">
                  <c:v>2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F02-4B9B-82C1-6355A3A3D90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155</c:f>
              <c:strCache>
                <c:ptCount val="154"/>
                <c:pt idx="0">
                  <c:v>30.12 - 5.1</c:v>
                </c:pt>
                <c:pt idx="1">
                  <c:v>6.1 - 12.1</c:v>
                </c:pt>
                <c:pt idx="2">
                  <c:v>13.1 - 19.1</c:v>
                </c:pt>
                <c:pt idx="3">
                  <c:v>20.1 - 26.1</c:v>
                </c:pt>
                <c:pt idx="4">
                  <c:v>27.1 - 2.2</c:v>
                </c:pt>
                <c:pt idx="5">
                  <c:v>3.2 - 9.2</c:v>
                </c:pt>
                <c:pt idx="6">
                  <c:v>10.2 - 16.2</c:v>
                </c:pt>
                <c:pt idx="7">
                  <c:v>17.2 - 23.2</c:v>
                </c:pt>
                <c:pt idx="8">
                  <c:v>24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  <c:pt idx="17">
                  <c:v>27.4 - 3.5</c:v>
                </c:pt>
                <c:pt idx="18">
                  <c:v>4.5 - 10.5</c:v>
                </c:pt>
                <c:pt idx="19">
                  <c:v>11.5 - 17.5</c:v>
                </c:pt>
                <c:pt idx="20">
                  <c:v>18.5 - 24.5</c:v>
                </c:pt>
                <c:pt idx="21">
                  <c:v>25.5 - 31.5</c:v>
                </c:pt>
                <c:pt idx="22">
                  <c:v>1.6 - 7.6</c:v>
                </c:pt>
                <c:pt idx="23">
                  <c:v>8.6 - 14.6</c:v>
                </c:pt>
                <c:pt idx="24">
                  <c:v>15.6 - 21.6</c:v>
                </c:pt>
                <c:pt idx="25">
                  <c:v>22.6 - 28.6</c:v>
                </c:pt>
                <c:pt idx="26">
                  <c:v>29.6 - 5.7</c:v>
                </c:pt>
                <c:pt idx="27">
                  <c:v>6.7 - 12.7</c:v>
                </c:pt>
                <c:pt idx="28">
                  <c:v>13.7 - 19.7</c:v>
                </c:pt>
                <c:pt idx="29">
                  <c:v>20.7 - 26.7</c:v>
                </c:pt>
                <c:pt idx="30">
                  <c:v>27.7 - 2.8</c:v>
                </c:pt>
                <c:pt idx="31">
                  <c:v>3.8 - 9.8</c:v>
                </c:pt>
                <c:pt idx="32">
                  <c:v>10.8 - 16.8</c:v>
                </c:pt>
                <c:pt idx="33">
                  <c:v>17.8 - 23.8</c:v>
                </c:pt>
                <c:pt idx="34">
                  <c:v>24.8 - 30.8</c:v>
                </c:pt>
                <c:pt idx="35">
                  <c:v>31.8 - 6.9</c:v>
                </c:pt>
                <c:pt idx="36">
                  <c:v>7.9 - 13.9</c:v>
                </c:pt>
                <c:pt idx="37">
                  <c:v>14.9 - 20.9</c:v>
                </c:pt>
                <c:pt idx="38">
                  <c:v>21.9 - 27.9</c:v>
                </c:pt>
                <c:pt idx="39">
                  <c:v>28.9 - 4.10</c:v>
                </c:pt>
                <c:pt idx="40">
                  <c:v>5.10 - 11.10</c:v>
                </c:pt>
                <c:pt idx="41">
                  <c:v>12.10 - 18.10</c:v>
                </c:pt>
                <c:pt idx="42">
                  <c:v>19.10 - 25.10</c:v>
                </c:pt>
                <c:pt idx="43">
                  <c:v>26.10 - 1.11</c:v>
                </c:pt>
                <c:pt idx="44">
                  <c:v>2.11 - 8.11</c:v>
                </c:pt>
                <c:pt idx="45">
                  <c:v>9.11 - 15.11</c:v>
                </c:pt>
                <c:pt idx="46">
                  <c:v>16.11 - 22.11</c:v>
                </c:pt>
                <c:pt idx="47">
                  <c:v>23.11 - 29.11</c:v>
                </c:pt>
                <c:pt idx="48">
                  <c:v>30.11 - 6.12</c:v>
                </c:pt>
                <c:pt idx="49">
                  <c:v>7.12 - 13.12</c:v>
                </c:pt>
                <c:pt idx="50">
                  <c:v>14.12 - 20.12</c:v>
                </c:pt>
                <c:pt idx="51">
                  <c:v>21.12 - 27.12</c:v>
                </c:pt>
                <c:pt idx="52">
                  <c:v>4.1 - 10.1</c:v>
                </c:pt>
                <c:pt idx="53">
                  <c:v>11.1 - 17.1</c:v>
                </c:pt>
                <c:pt idx="54">
                  <c:v>18.1 - 24.1</c:v>
                </c:pt>
                <c:pt idx="55">
                  <c:v>25.1 - 31.1</c:v>
                </c:pt>
                <c:pt idx="56">
                  <c:v>1.2 - 7.2</c:v>
                </c:pt>
                <c:pt idx="57">
                  <c:v>8.2 - 14.2</c:v>
                </c:pt>
                <c:pt idx="58">
                  <c:v>15.2 - 21.2</c:v>
                </c:pt>
                <c:pt idx="59">
                  <c:v>22.2 - 28.2</c:v>
                </c:pt>
                <c:pt idx="60">
                  <c:v>1.3 - 7.3</c:v>
                </c:pt>
                <c:pt idx="61">
                  <c:v>8.3 - 14.3</c:v>
                </c:pt>
                <c:pt idx="62">
                  <c:v>15.3 - 21.3</c:v>
                </c:pt>
                <c:pt idx="63">
                  <c:v>22.3 - 28.3</c:v>
                </c:pt>
                <c:pt idx="64">
                  <c:v>29.3 - 4.4</c:v>
                </c:pt>
                <c:pt idx="65">
                  <c:v>5.4 - 11.4</c:v>
                </c:pt>
                <c:pt idx="66">
                  <c:v>12.4 - 18.4</c:v>
                </c:pt>
                <c:pt idx="67">
                  <c:v>19.4 - 25.4</c:v>
                </c:pt>
                <c:pt idx="68">
                  <c:v>26.4 - 2.5</c:v>
                </c:pt>
                <c:pt idx="69">
                  <c:v>3.5 - 9.5</c:v>
                </c:pt>
                <c:pt idx="70">
                  <c:v>10.5 - 16.5</c:v>
                </c:pt>
                <c:pt idx="71">
                  <c:v>17.5 - 23.5</c:v>
                </c:pt>
                <c:pt idx="72">
                  <c:v>24.5 - 30.5</c:v>
                </c:pt>
                <c:pt idx="73">
                  <c:v>31.5 - 6.6</c:v>
                </c:pt>
                <c:pt idx="74">
                  <c:v>7.6. - 13.6.</c:v>
                </c:pt>
                <c:pt idx="75">
                  <c:v>14.6. - 20.6.</c:v>
                </c:pt>
                <c:pt idx="76">
                  <c:v>21.6. - 27.6.</c:v>
                </c:pt>
                <c:pt idx="77">
                  <c:v>28.6. - 4.7.</c:v>
                </c:pt>
                <c:pt idx="78">
                  <c:v>5.7. - 11.7.</c:v>
                </c:pt>
                <c:pt idx="79">
                  <c:v>12.7. - 18.7.</c:v>
                </c:pt>
                <c:pt idx="80">
                  <c:v>19.7. - 25.7.</c:v>
                </c:pt>
                <c:pt idx="81">
                  <c:v>26.7. - 1.8.</c:v>
                </c:pt>
                <c:pt idx="82">
                  <c:v>02.08. - 08.08.</c:v>
                </c:pt>
                <c:pt idx="83">
                  <c:v>09.08. - 15.08.</c:v>
                </c:pt>
                <c:pt idx="84">
                  <c:v>16.8. - 22.8.</c:v>
                </c:pt>
                <c:pt idx="85">
                  <c:v>23.08. - 29.08.</c:v>
                </c:pt>
                <c:pt idx="86">
                  <c:v>30.08. - 05.09.</c:v>
                </c:pt>
                <c:pt idx="87">
                  <c:v>6.9. - 12.9.</c:v>
                </c:pt>
                <c:pt idx="88">
                  <c:v>13.9. - 19.9.</c:v>
                </c:pt>
                <c:pt idx="89">
                  <c:v>20.9. - 26.9.</c:v>
                </c:pt>
                <c:pt idx="90">
                  <c:v>27.9. - 3.10.</c:v>
                </c:pt>
                <c:pt idx="91">
                  <c:v>4.10. - 10.10.</c:v>
                </c:pt>
                <c:pt idx="92">
                  <c:v>11.10. - 17.10.</c:v>
                </c:pt>
                <c:pt idx="93">
                  <c:v>18.10. - 24.10.</c:v>
                </c:pt>
                <c:pt idx="94">
                  <c:v>25.10. - 31.10.</c:v>
                </c:pt>
                <c:pt idx="95">
                  <c:v>1.11. - 7.11.</c:v>
                </c:pt>
                <c:pt idx="96">
                  <c:v>8.11. - 14.11.</c:v>
                </c:pt>
                <c:pt idx="97">
                  <c:v>15.11. - 21.11.</c:v>
                </c:pt>
                <c:pt idx="98">
                  <c:v>22.11. - 28.11.</c:v>
                </c:pt>
                <c:pt idx="99">
                  <c:v>29.11. - 5.12.</c:v>
                </c:pt>
                <c:pt idx="100">
                  <c:v>6.11. - 12.12.</c:v>
                </c:pt>
                <c:pt idx="101">
                  <c:v>13.12. - 19.12.</c:v>
                </c:pt>
                <c:pt idx="102">
                  <c:v>20.12. - 26.12.</c:v>
                </c:pt>
                <c:pt idx="103">
                  <c:v>3.1. - 9.1.</c:v>
                </c:pt>
                <c:pt idx="104">
                  <c:v>10.1. - 16.1.</c:v>
                </c:pt>
                <c:pt idx="105">
                  <c:v>17.1. - 23.1.</c:v>
                </c:pt>
                <c:pt idx="106">
                  <c:v>24.1. - 30.1.</c:v>
                </c:pt>
                <c:pt idx="107">
                  <c:v>31.1. - 6.2.</c:v>
                </c:pt>
                <c:pt idx="108">
                  <c:v>7.2. - 13.2.</c:v>
                </c:pt>
                <c:pt idx="109">
                  <c:v>14.2. - 20.2.</c:v>
                </c:pt>
                <c:pt idx="110">
                  <c:v>21.2. - 27.2.</c:v>
                </c:pt>
                <c:pt idx="111">
                  <c:v>28.2. - 6.3.</c:v>
                </c:pt>
                <c:pt idx="112">
                  <c:v>7.3. - 13.3.</c:v>
                </c:pt>
                <c:pt idx="113">
                  <c:v>14.3. - 20.3.</c:v>
                </c:pt>
                <c:pt idx="114">
                  <c:v>21.3. - 27.3.</c:v>
                </c:pt>
                <c:pt idx="115">
                  <c:v>28.3. - 3.4.</c:v>
                </c:pt>
                <c:pt idx="116">
                  <c:v>4.4. - 10.4.</c:v>
                </c:pt>
                <c:pt idx="117">
                  <c:v>11.4. - 17.4.</c:v>
                </c:pt>
                <c:pt idx="118">
                  <c:v>18.4. - 24.4.</c:v>
                </c:pt>
                <c:pt idx="119">
                  <c:v>25.4. - 1.5.</c:v>
                </c:pt>
                <c:pt idx="120">
                  <c:v>2.5. - 8.5.</c:v>
                </c:pt>
                <c:pt idx="121">
                  <c:v>9.5. - 15.5.</c:v>
                </c:pt>
                <c:pt idx="122">
                  <c:v>16.5. - 22.5.</c:v>
                </c:pt>
                <c:pt idx="123">
                  <c:v>23.5. - 29.5.</c:v>
                </c:pt>
                <c:pt idx="124">
                  <c:v>30.5. - 5.6.</c:v>
                </c:pt>
                <c:pt idx="125">
                  <c:v>6.6. - 12.6.</c:v>
                </c:pt>
                <c:pt idx="126">
                  <c:v>13.6. - 19.6.</c:v>
                </c:pt>
                <c:pt idx="127">
                  <c:v>20.6. - 26.6.</c:v>
                </c:pt>
                <c:pt idx="128">
                  <c:v>27.6. - 3.7.</c:v>
                </c:pt>
                <c:pt idx="129">
                  <c:v>4.7. - 10.7.</c:v>
                </c:pt>
                <c:pt idx="130">
                  <c:v>11.7. - 17.7.</c:v>
                </c:pt>
                <c:pt idx="131">
                  <c:v>18.7. - 24.7.</c:v>
                </c:pt>
                <c:pt idx="132">
                  <c:v>25.7. - 31.7.</c:v>
                </c:pt>
                <c:pt idx="133">
                  <c:v>1.8. - 7.8.</c:v>
                </c:pt>
                <c:pt idx="134">
                  <c:v>8.8. - 14.8.</c:v>
                </c:pt>
                <c:pt idx="135">
                  <c:v>15.8. - 21.8.</c:v>
                </c:pt>
                <c:pt idx="136">
                  <c:v>22.8. - 28.8.</c:v>
                </c:pt>
                <c:pt idx="137">
                  <c:v>29.8. - 4.9.</c:v>
                </c:pt>
                <c:pt idx="138">
                  <c:v>5.9. - 11.9.</c:v>
                </c:pt>
                <c:pt idx="139">
                  <c:v>12.9. - 18.9.</c:v>
                </c:pt>
                <c:pt idx="140">
                  <c:v>19.9. - 25.9.</c:v>
                </c:pt>
                <c:pt idx="141">
                  <c:v>26.9. - 2.10.</c:v>
                </c:pt>
                <c:pt idx="142">
                  <c:v>3.10. - 9.10.</c:v>
                </c:pt>
                <c:pt idx="143">
                  <c:v>10.10. - 16.10.</c:v>
                </c:pt>
                <c:pt idx="144">
                  <c:v>17.10. - 23.10.</c:v>
                </c:pt>
                <c:pt idx="145">
                  <c:v>24.10. - 30.10.</c:v>
                </c:pt>
                <c:pt idx="146">
                  <c:v>31.10. - 6.11.</c:v>
                </c:pt>
                <c:pt idx="147">
                  <c:v>7.11. - 13.11.</c:v>
                </c:pt>
                <c:pt idx="148">
                  <c:v>14.11. - 20.11.</c:v>
                </c:pt>
                <c:pt idx="149">
                  <c:v>21.11. - 27.11.</c:v>
                </c:pt>
                <c:pt idx="150">
                  <c:v>28.11. - 4.12.</c:v>
                </c:pt>
                <c:pt idx="151">
                  <c:v>5.12. - 11.12.</c:v>
                </c:pt>
                <c:pt idx="152">
                  <c:v>12.12. - 18.12.</c:v>
                </c:pt>
                <c:pt idx="153">
                  <c:v>19.12. - 25.12.</c:v>
                </c:pt>
              </c:strCache>
            </c:strRef>
          </c:cat>
          <c:val>
            <c:numRef>
              <c:f>Sheet1!$D$2:$D$155</c:f>
              <c:numCache>
                <c:formatCode>General</c:formatCode>
                <c:ptCount val="154"/>
                <c:pt idx="52">
                  <c:v>3846</c:v>
                </c:pt>
                <c:pt idx="53">
                  <c:v>3751</c:v>
                </c:pt>
                <c:pt idx="54">
                  <c:v>3598</c:v>
                </c:pt>
                <c:pt idx="55">
                  <c:v>3449</c:v>
                </c:pt>
                <c:pt idx="56">
                  <c:v>3274</c:v>
                </c:pt>
                <c:pt idx="57">
                  <c:v>3443</c:v>
                </c:pt>
                <c:pt idx="58">
                  <c:v>3472</c:v>
                </c:pt>
                <c:pt idx="59">
                  <c:v>3631</c:v>
                </c:pt>
                <c:pt idx="60">
                  <c:v>3919</c:v>
                </c:pt>
                <c:pt idx="61">
                  <c:v>4028</c:v>
                </c:pt>
                <c:pt idx="62">
                  <c:v>3835</c:v>
                </c:pt>
                <c:pt idx="63">
                  <c:v>3470</c:v>
                </c:pt>
                <c:pt idx="64">
                  <c:v>3389</c:v>
                </c:pt>
                <c:pt idx="65">
                  <c:v>2947</c:v>
                </c:pt>
                <c:pt idx="66">
                  <c:v>2639</c:v>
                </c:pt>
                <c:pt idx="67">
                  <c:v>2511</c:v>
                </c:pt>
                <c:pt idx="68">
                  <c:v>2475</c:v>
                </c:pt>
                <c:pt idx="69">
                  <c:v>2305</c:v>
                </c:pt>
                <c:pt idx="70">
                  <c:v>2247</c:v>
                </c:pt>
                <c:pt idx="71">
                  <c:v>2052</c:v>
                </c:pt>
                <c:pt idx="72">
                  <c:v>1959</c:v>
                </c:pt>
                <c:pt idx="73">
                  <c:v>2054</c:v>
                </c:pt>
                <c:pt idx="74">
                  <c:v>1967</c:v>
                </c:pt>
                <c:pt idx="75">
                  <c:v>2055</c:v>
                </c:pt>
                <c:pt idx="76">
                  <c:v>2002</c:v>
                </c:pt>
                <c:pt idx="77">
                  <c:v>1887</c:v>
                </c:pt>
                <c:pt idx="78">
                  <c:v>1935</c:v>
                </c:pt>
                <c:pt idx="79">
                  <c:v>2030</c:v>
                </c:pt>
                <c:pt idx="80">
                  <c:v>1959</c:v>
                </c:pt>
                <c:pt idx="81">
                  <c:v>2107</c:v>
                </c:pt>
                <c:pt idx="82">
                  <c:v>1912</c:v>
                </c:pt>
                <c:pt idx="83">
                  <c:v>2032</c:v>
                </c:pt>
                <c:pt idx="84">
                  <c:v>1983</c:v>
                </c:pt>
                <c:pt idx="85">
                  <c:v>1955</c:v>
                </c:pt>
                <c:pt idx="86">
                  <c:v>1999</c:v>
                </c:pt>
                <c:pt idx="87">
                  <c:v>2074</c:v>
                </c:pt>
                <c:pt idx="88">
                  <c:v>2125</c:v>
                </c:pt>
                <c:pt idx="89">
                  <c:v>2098</c:v>
                </c:pt>
                <c:pt idx="90">
                  <c:v>2074</c:v>
                </c:pt>
                <c:pt idx="91">
                  <c:v>2112</c:v>
                </c:pt>
                <c:pt idx="92">
                  <c:v>2217</c:v>
                </c:pt>
                <c:pt idx="93">
                  <c:v>2311</c:v>
                </c:pt>
                <c:pt idx="94">
                  <c:v>2570</c:v>
                </c:pt>
                <c:pt idx="95">
                  <c:v>2691</c:v>
                </c:pt>
                <c:pt idx="96">
                  <c:v>2883</c:v>
                </c:pt>
                <c:pt idx="97">
                  <c:v>3047</c:v>
                </c:pt>
                <c:pt idx="98">
                  <c:v>3235</c:v>
                </c:pt>
                <c:pt idx="99">
                  <c:v>3388</c:v>
                </c:pt>
                <c:pt idx="100">
                  <c:v>3370</c:v>
                </c:pt>
                <c:pt idx="101">
                  <c:v>3132</c:v>
                </c:pt>
                <c:pt idx="102">
                  <c:v>2937</c:v>
                </c:pt>
                <c:pt idx="103">
                  <c:v>25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F02-4B9B-82C1-6355A3A3D90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11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4086-4F0E-B8FE-17EB0ECB955C}"/>
              </c:ext>
            </c:extLst>
          </c:dPt>
          <c:cat>
            <c:strRef>
              <c:f>Sheet1!$A$2:$A$155</c:f>
              <c:strCache>
                <c:ptCount val="154"/>
                <c:pt idx="0">
                  <c:v>30.12 - 5.1</c:v>
                </c:pt>
                <c:pt idx="1">
                  <c:v>6.1 - 12.1</c:v>
                </c:pt>
                <c:pt idx="2">
                  <c:v>13.1 - 19.1</c:v>
                </c:pt>
                <c:pt idx="3">
                  <c:v>20.1 - 26.1</c:v>
                </c:pt>
                <c:pt idx="4">
                  <c:v>27.1 - 2.2</c:v>
                </c:pt>
                <c:pt idx="5">
                  <c:v>3.2 - 9.2</c:v>
                </c:pt>
                <c:pt idx="6">
                  <c:v>10.2 - 16.2</c:v>
                </c:pt>
                <c:pt idx="7">
                  <c:v>17.2 - 23.2</c:v>
                </c:pt>
                <c:pt idx="8">
                  <c:v>24.2 - 1.3</c:v>
                </c:pt>
                <c:pt idx="9">
                  <c:v>2.3 - 8.3</c:v>
                </c:pt>
                <c:pt idx="10">
                  <c:v>9.3 - 15.3</c:v>
                </c:pt>
                <c:pt idx="11">
                  <c:v>16.3 - 22.3</c:v>
                </c:pt>
                <c:pt idx="12">
                  <c:v>23.3 - 29.3</c:v>
                </c:pt>
                <c:pt idx="13">
                  <c:v>30.3 - 5.4</c:v>
                </c:pt>
                <c:pt idx="14">
                  <c:v>6.4 - 12.4</c:v>
                </c:pt>
                <c:pt idx="15">
                  <c:v>13.4 - 19.4</c:v>
                </c:pt>
                <c:pt idx="16">
                  <c:v>20.4 - 26.4</c:v>
                </c:pt>
                <c:pt idx="17">
                  <c:v>27.4 - 3.5</c:v>
                </c:pt>
                <c:pt idx="18">
                  <c:v>4.5 - 10.5</c:v>
                </c:pt>
                <c:pt idx="19">
                  <c:v>11.5 - 17.5</c:v>
                </c:pt>
                <c:pt idx="20">
                  <c:v>18.5 - 24.5</c:v>
                </c:pt>
                <c:pt idx="21">
                  <c:v>25.5 - 31.5</c:v>
                </c:pt>
                <c:pt idx="22">
                  <c:v>1.6 - 7.6</c:v>
                </c:pt>
                <c:pt idx="23">
                  <c:v>8.6 - 14.6</c:v>
                </c:pt>
                <c:pt idx="24">
                  <c:v>15.6 - 21.6</c:v>
                </c:pt>
                <c:pt idx="25">
                  <c:v>22.6 - 28.6</c:v>
                </c:pt>
                <c:pt idx="26">
                  <c:v>29.6 - 5.7</c:v>
                </c:pt>
                <c:pt idx="27">
                  <c:v>6.7 - 12.7</c:v>
                </c:pt>
                <c:pt idx="28">
                  <c:v>13.7 - 19.7</c:v>
                </c:pt>
                <c:pt idx="29">
                  <c:v>20.7 - 26.7</c:v>
                </c:pt>
                <c:pt idx="30">
                  <c:v>27.7 - 2.8</c:v>
                </c:pt>
                <c:pt idx="31">
                  <c:v>3.8 - 9.8</c:v>
                </c:pt>
                <c:pt idx="32">
                  <c:v>10.8 - 16.8</c:v>
                </c:pt>
                <c:pt idx="33">
                  <c:v>17.8 - 23.8</c:v>
                </c:pt>
                <c:pt idx="34">
                  <c:v>24.8 - 30.8</c:v>
                </c:pt>
                <c:pt idx="35">
                  <c:v>31.8 - 6.9</c:v>
                </c:pt>
                <c:pt idx="36">
                  <c:v>7.9 - 13.9</c:v>
                </c:pt>
                <c:pt idx="37">
                  <c:v>14.9 - 20.9</c:v>
                </c:pt>
                <c:pt idx="38">
                  <c:v>21.9 - 27.9</c:v>
                </c:pt>
                <c:pt idx="39">
                  <c:v>28.9 - 4.10</c:v>
                </c:pt>
                <c:pt idx="40">
                  <c:v>5.10 - 11.10</c:v>
                </c:pt>
                <c:pt idx="41">
                  <c:v>12.10 - 18.10</c:v>
                </c:pt>
                <c:pt idx="42">
                  <c:v>19.10 - 25.10</c:v>
                </c:pt>
                <c:pt idx="43">
                  <c:v>26.10 - 1.11</c:v>
                </c:pt>
                <c:pt idx="44">
                  <c:v>2.11 - 8.11</c:v>
                </c:pt>
                <c:pt idx="45">
                  <c:v>9.11 - 15.11</c:v>
                </c:pt>
                <c:pt idx="46">
                  <c:v>16.11 - 22.11</c:v>
                </c:pt>
                <c:pt idx="47">
                  <c:v>23.11 - 29.11</c:v>
                </c:pt>
                <c:pt idx="48">
                  <c:v>30.11 - 6.12</c:v>
                </c:pt>
                <c:pt idx="49">
                  <c:v>7.12 - 13.12</c:v>
                </c:pt>
                <c:pt idx="50">
                  <c:v>14.12 - 20.12</c:v>
                </c:pt>
                <c:pt idx="51">
                  <c:v>21.12 - 27.12</c:v>
                </c:pt>
                <c:pt idx="52">
                  <c:v>4.1 - 10.1</c:v>
                </c:pt>
                <c:pt idx="53">
                  <c:v>11.1 - 17.1</c:v>
                </c:pt>
                <c:pt idx="54">
                  <c:v>18.1 - 24.1</c:v>
                </c:pt>
                <c:pt idx="55">
                  <c:v>25.1 - 31.1</c:v>
                </c:pt>
                <c:pt idx="56">
                  <c:v>1.2 - 7.2</c:v>
                </c:pt>
                <c:pt idx="57">
                  <c:v>8.2 - 14.2</c:v>
                </c:pt>
                <c:pt idx="58">
                  <c:v>15.2 - 21.2</c:v>
                </c:pt>
                <c:pt idx="59">
                  <c:v>22.2 - 28.2</c:v>
                </c:pt>
                <c:pt idx="60">
                  <c:v>1.3 - 7.3</c:v>
                </c:pt>
                <c:pt idx="61">
                  <c:v>8.3 - 14.3</c:v>
                </c:pt>
                <c:pt idx="62">
                  <c:v>15.3 - 21.3</c:v>
                </c:pt>
                <c:pt idx="63">
                  <c:v>22.3 - 28.3</c:v>
                </c:pt>
                <c:pt idx="64">
                  <c:v>29.3 - 4.4</c:v>
                </c:pt>
                <c:pt idx="65">
                  <c:v>5.4 - 11.4</c:v>
                </c:pt>
                <c:pt idx="66">
                  <c:v>12.4 - 18.4</c:v>
                </c:pt>
                <c:pt idx="67">
                  <c:v>19.4 - 25.4</c:v>
                </c:pt>
                <c:pt idx="68">
                  <c:v>26.4 - 2.5</c:v>
                </c:pt>
                <c:pt idx="69">
                  <c:v>3.5 - 9.5</c:v>
                </c:pt>
                <c:pt idx="70">
                  <c:v>10.5 - 16.5</c:v>
                </c:pt>
                <c:pt idx="71">
                  <c:v>17.5 - 23.5</c:v>
                </c:pt>
                <c:pt idx="72">
                  <c:v>24.5 - 30.5</c:v>
                </c:pt>
                <c:pt idx="73">
                  <c:v>31.5 - 6.6</c:v>
                </c:pt>
                <c:pt idx="74">
                  <c:v>7.6. - 13.6.</c:v>
                </c:pt>
                <c:pt idx="75">
                  <c:v>14.6. - 20.6.</c:v>
                </c:pt>
                <c:pt idx="76">
                  <c:v>21.6. - 27.6.</c:v>
                </c:pt>
                <c:pt idx="77">
                  <c:v>28.6. - 4.7.</c:v>
                </c:pt>
                <c:pt idx="78">
                  <c:v>5.7. - 11.7.</c:v>
                </c:pt>
                <c:pt idx="79">
                  <c:v>12.7. - 18.7.</c:v>
                </c:pt>
                <c:pt idx="80">
                  <c:v>19.7. - 25.7.</c:v>
                </c:pt>
                <c:pt idx="81">
                  <c:v>26.7. - 1.8.</c:v>
                </c:pt>
                <c:pt idx="82">
                  <c:v>02.08. - 08.08.</c:v>
                </c:pt>
                <c:pt idx="83">
                  <c:v>09.08. - 15.08.</c:v>
                </c:pt>
                <c:pt idx="84">
                  <c:v>16.8. - 22.8.</c:v>
                </c:pt>
                <c:pt idx="85">
                  <c:v>23.08. - 29.08.</c:v>
                </c:pt>
                <c:pt idx="86">
                  <c:v>30.08. - 05.09.</c:v>
                </c:pt>
                <c:pt idx="87">
                  <c:v>6.9. - 12.9.</c:v>
                </c:pt>
                <c:pt idx="88">
                  <c:v>13.9. - 19.9.</c:v>
                </c:pt>
                <c:pt idx="89">
                  <c:v>20.9. - 26.9.</c:v>
                </c:pt>
                <c:pt idx="90">
                  <c:v>27.9. - 3.10.</c:v>
                </c:pt>
                <c:pt idx="91">
                  <c:v>4.10. - 10.10.</c:v>
                </c:pt>
                <c:pt idx="92">
                  <c:v>11.10. - 17.10.</c:v>
                </c:pt>
                <c:pt idx="93">
                  <c:v>18.10. - 24.10.</c:v>
                </c:pt>
                <c:pt idx="94">
                  <c:v>25.10. - 31.10.</c:v>
                </c:pt>
                <c:pt idx="95">
                  <c:v>1.11. - 7.11.</c:v>
                </c:pt>
                <c:pt idx="96">
                  <c:v>8.11. - 14.11.</c:v>
                </c:pt>
                <c:pt idx="97">
                  <c:v>15.11. - 21.11.</c:v>
                </c:pt>
                <c:pt idx="98">
                  <c:v>22.11. - 28.11.</c:v>
                </c:pt>
                <c:pt idx="99">
                  <c:v>29.11. - 5.12.</c:v>
                </c:pt>
                <c:pt idx="100">
                  <c:v>6.11. - 12.12.</c:v>
                </c:pt>
                <c:pt idx="101">
                  <c:v>13.12. - 19.12.</c:v>
                </c:pt>
                <c:pt idx="102">
                  <c:v>20.12. - 26.12.</c:v>
                </c:pt>
                <c:pt idx="103">
                  <c:v>3.1. - 9.1.</c:v>
                </c:pt>
                <c:pt idx="104">
                  <c:v>10.1. - 16.1.</c:v>
                </c:pt>
                <c:pt idx="105">
                  <c:v>17.1. - 23.1.</c:v>
                </c:pt>
                <c:pt idx="106">
                  <c:v>24.1. - 30.1.</c:v>
                </c:pt>
                <c:pt idx="107">
                  <c:v>31.1. - 6.2.</c:v>
                </c:pt>
                <c:pt idx="108">
                  <c:v>7.2. - 13.2.</c:v>
                </c:pt>
                <c:pt idx="109">
                  <c:v>14.2. - 20.2.</c:v>
                </c:pt>
                <c:pt idx="110">
                  <c:v>21.2. - 27.2.</c:v>
                </c:pt>
                <c:pt idx="111">
                  <c:v>28.2. - 6.3.</c:v>
                </c:pt>
                <c:pt idx="112">
                  <c:v>7.3. - 13.3.</c:v>
                </c:pt>
                <c:pt idx="113">
                  <c:v>14.3. - 20.3.</c:v>
                </c:pt>
                <c:pt idx="114">
                  <c:v>21.3. - 27.3.</c:v>
                </c:pt>
                <c:pt idx="115">
                  <c:v>28.3. - 3.4.</c:v>
                </c:pt>
                <c:pt idx="116">
                  <c:v>4.4. - 10.4.</c:v>
                </c:pt>
                <c:pt idx="117">
                  <c:v>11.4. - 17.4.</c:v>
                </c:pt>
                <c:pt idx="118">
                  <c:v>18.4. - 24.4.</c:v>
                </c:pt>
                <c:pt idx="119">
                  <c:v>25.4. - 1.5.</c:v>
                </c:pt>
                <c:pt idx="120">
                  <c:v>2.5. - 8.5.</c:v>
                </c:pt>
                <c:pt idx="121">
                  <c:v>9.5. - 15.5.</c:v>
                </c:pt>
                <c:pt idx="122">
                  <c:v>16.5. - 22.5.</c:v>
                </c:pt>
                <c:pt idx="123">
                  <c:v>23.5. - 29.5.</c:v>
                </c:pt>
                <c:pt idx="124">
                  <c:v>30.5. - 5.6.</c:v>
                </c:pt>
                <c:pt idx="125">
                  <c:v>6.6. - 12.6.</c:v>
                </c:pt>
                <c:pt idx="126">
                  <c:v>13.6. - 19.6.</c:v>
                </c:pt>
                <c:pt idx="127">
                  <c:v>20.6. - 26.6.</c:v>
                </c:pt>
                <c:pt idx="128">
                  <c:v>27.6. - 3.7.</c:v>
                </c:pt>
                <c:pt idx="129">
                  <c:v>4.7. - 10.7.</c:v>
                </c:pt>
                <c:pt idx="130">
                  <c:v>11.7. - 17.7.</c:v>
                </c:pt>
                <c:pt idx="131">
                  <c:v>18.7. - 24.7.</c:v>
                </c:pt>
                <c:pt idx="132">
                  <c:v>25.7. - 31.7.</c:v>
                </c:pt>
                <c:pt idx="133">
                  <c:v>1.8. - 7.8.</c:v>
                </c:pt>
                <c:pt idx="134">
                  <c:v>8.8. - 14.8.</c:v>
                </c:pt>
                <c:pt idx="135">
                  <c:v>15.8. - 21.8.</c:v>
                </c:pt>
                <c:pt idx="136">
                  <c:v>22.8. - 28.8.</c:v>
                </c:pt>
                <c:pt idx="137">
                  <c:v>29.8. - 4.9.</c:v>
                </c:pt>
                <c:pt idx="138">
                  <c:v>5.9. - 11.9.</c:v>
                </c:pt>
                <c:pt idx="139">
                  <c:v>12.9. - 18.9.</c:v>
                </c:pt>
                <c:pt idx="140">
                  <c:v>19.9. - 25.9.</c:v>
                </c:pt>
                <c:pt idx="141">
                  <c:v>26.9. - 2.10.</c:v>
                </c:pt>
                <c:pt idx="142">
                  <c:v>3.10. - 9.10.</c:v>
                </c:pt>
                <c:pt idx="143">
                  <c:v>10.10. - 16.10.</c:v>
                </c:pt>
                <c:pt idx="144">
                  <c:v>17.10. - 23.10.</c:v>
                </c:pt>
                <c:pt idx="145">
                  <c:v>24.10. - 30.10.</c:v>
                </c:pt>
                <c:pt idx="146">
                  <c:v>31.10. - 6.11.</c:v>
                </c:pt>
                <c:pt idx="147">
                  <c:v>7.11. - 13.11.</c:v>
                </c:pt>
                <c:pt idx="148">
                  <c:v>14.11. - 20.11.</c:v>
                </c:pt>
                <c:pt idx="149">
                  <c:v>21.11. - 27.11.</c:v>
                </c:pt>
                <c:pt idx="150">
                  <c:v>28.11. - 4.12.</c:v>
                </c:pt>
                <c:pt idx="151">
                  <c:v>5.12. - 11.12.</c:v>
                </c:pt>
                <c:pt idx="152">
                  <c:v>12.12. - 18.12.</c:v>
                </c:pt>
                <c:pt idx="153">
                  <c:v>19.12. - 25.12.</c:v>
                </c:pt>
              </c:strCache>
            </c:strRef>
          </c:cat>
          <c:val>
            <c:numRef>
              <c:f>Sheet1!$E$2:$E$155</c:f>
              <c:numCache>
                <c:formatCode>General</c:formatCode>
                <c:ptCount val="154"/>
                <c:pt idx="103" formatCode="#,##0">
                  <c:v>2552</c:v>
                </c:pt>
                <c:pt idx="104" formatCode="#,##0">
                  <c:v>2552</c:v>
                </c:pt>
                <c:pt idx="105" formatCode="#,##0">
                  <c:v>2357</c:v>
                </c:pt>
                <c:pt idx="106" formatCode="#,##0">
                  <c:v>2372</c:v>
                </c:pt>
                <c:pt idx="107" formatCode="#,##0">
                  <c:v>2630</c:v>
                </c:pt>
                <c:pt idx="108" formatCode="#,##0">
                  <c:v>2674</c:v>
                </c:pt>
                <c:pt idx="109" formatCode="#,##0">
                  <c:v>2615</c:v>
                </c:pt>
                <c:pt idx="110" formatCode="#,##0">
                  <c:v>2495</c:v>
                </c:pt>
                <c:pt idx="111" formatCode="#,##0">
                  <c:v>2405</c:v>
                </c:pt>
                <c:pt idx="112" formatCode="#,##0">
                  <c:v>2384</c:v>
                </c:pt>
                <c:pt idx="113" formatCode="#,##0">
                  <c:v>2300</c:v>
                </c:pt>
                <c:pt idx="114" formatCode="#,##0">
                  <c:v>2452</c:v>
                </c:pt>
                <c:pt idx="115" formatCode="#,##0">
                  <c:v>2503</c:v>
                </c:pt>
                <c:pt idx="116" formatCode="#,##0">
                  <c:v>2415</c:v>
                </c:pt>
                <c:pt idx="117" formatCode="#,##0">
                  <c:v>2304</c:v>
                </c:pt>
                <c:pt idx="118" formatCode="#,##0">
                  <c:v>2310</c:v>
                </c:pt>
                <c:pt idx="119" formatCode="#,##0">
                  <c:v>2243</c:v>
                </c:pt>
                <c:pt idx="120" formatCode="#,##0">
                  <c:v>2261</c:v>
                </c:pt>
                <c:pt idx="121" formatCode="#,##0">
                  <c:v>2181</c:v>
                </c:pt>
                <c:pt idx="122" formatCode="#,##0">
                  <c:v>2029</c:v>
                </c:pt>
                <c:pt idx="123" formatCode="#,##0">
                  <c:v>1891</c:v>
                </c:pt>
                <c:pt idx="124" formatCode="#,##0">
                  <c:v>2045</c:v>
                </c:pt>
                <c:pt idx="125" formatCode="#,##0">
                  <c:v>2057</c:v>
                </c:pt>
                <c:pt idx="126" formatCode="#,##0">
                  <c:v>1974</c:v>
                </c:pt>
                <c:pt idx="127" formatCode="#,##0">
                  <c:v>1975</c:v>
                </c:pt>
                <c:pt idx="128" formatCode="#,##0">
                  <c:v>2163</c:v>
                </c:pt>
                <c:pt idx="129" formatCode="#,##0">
                  <c:v>1874</c:v>
                </c:pt>
                <c:pt idx="130" formatCode="#,##0">
                  <c:v>1953</c:v>
                </c:pt>
                <c:pt idx="131" formatCode="#,##0">
                  <c:v>2309</c:v>
                </c:pt>
                <c:pt idx="132" formatCode="#,##0">
                  <c:v>2180</c:v>
                </c:pt>
                <c:pt idx="133" formatCode="#,##0">
                  <c:v>2196</c:v>
                </c:pt>
                <c:pt idx="134" formatCode="#,##0">
                  <c:v>2155</c:v>
                </c:pt>
                <c:pt idx="135" formatCode="#,##0">
                  <c:v>2180</c:v>
                </c:pt>
                <c:pt idx="136" formatCode="#,##0">
                  <c:v>2097</c:v>
                </c:pt>
                <c:pt idx="137" formatCode="#,##0">
                  <c:v>2026</c:v>
                </c:pt>
                <c:pt idx="138" formatCode="#,##0">
                  <c:v>2157</c:v>
                </c:pt>
                <c:pt idx="139" formatCode="#,##0">
                  <c:v>2215</c:v>
                </c:pt>
                <c:pt idx="140" formatCode="#,##0">
                  <c:v>2281</c:v>
                </c:pt>
                <c:pt idx="141" formatCode="#,##0">
                  <c:v>2346</c:v>
                </c:pt>
                <c:pt idx="142" formatCode="#,##0">
                  <c:v>2384</c:v>
                </c:pt>
                <c:pt idx="143" formatCode="#,##0">
                  <c:v>2324</c:v>
                </c:pt>
                <c:pt idx="144" formatCode="#,##0">
                  <c:v>2288</c:v>
                </c:pt>
                <c:pt idx="145" formatCode="#,##0">
                  <c:v>2267</c:v>
                </c:pt>
                <c:pt idx="146" formatCode="#,##0">
                  <c:v>2150</c:v>
                </c:pt>
                <c:pt idx="147" formatCode="#,##0">
                  <c:v>2198</c:v>
                </c:pt>
                <c:pt idx="148" formatCode="#,##0">
                  <c:v>2178</c:v>
                </c:pt>
                <c:pt idx="149" formatCode="#,##0">
                  <c:v>2227</c:v>
                </c:pt>
                <c:pt idx="150" formatCode="#,##0">
                  <c:v>2413</c:v>
                </c:pt>
                <c:pt idx="151" formatCode="#,##0">
                  <c:v>2405</c:v>
                </c:pt>
                <c:pt idx="152" formatCode="#,##0">
                  <c:v>2688</c:v>
                </c:pt>
                <c:pt idx="153" formatCode="#,##0">
                  <c:v>29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F227-480F-A716-566092ED9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75420079"/>
        <c:axId val="1960797999"/>
      </c:lineChart>
      <c:catAx>
        <c:axId val="9754200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0797999"/>
        <c:crosses val="autoZero"/>
        <c:auto val="1"/>
        <c:lblAlgn val="ctr"/>
        <c:lblOffset val="100"/>
        <c:tickLblSkip val="3"/>
        <c:noMultiLvlLbl val="0"/>
      </c:catAx>
      <c:valAx>
        <c:axId val="196079799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54200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4405885760897697E-2"/>
          <c:y val="2.0236374279557798E-2"/>
          <c:w val="0.50162746514592815"/>
          <c:h val="4.9571344401365153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842090716513881E-2"/>
          <c:y val="6.979938271604938E-2"/>
          <c:w val="0.86121607542845235"/>
          <c:h val="0.8246007075084780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C$3</c:f>
              <c:strCache>
                <c:ptCount val="1"/>
                <c:pt idx="0">
                  <c:v>B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8308237349081078E-2"/>
                  <c:y val="1.39991181657848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</c:f>
              <c:numCache>
                <c:formatCode>0.00%</c:formatCode>
                <c:ptCount val="1"/>
                <c:pt idx="0">
                  <c:v>0.76700000000000002</c:v>
                </c:pt>
              </c:numCache>
            </c:numRef>
          </c:xVal>
          <c:yVal>
            <c:numRef>
              <c:f>List1!$A$3</c:f>
              <c:numCache>
                <c:formatCode>0.00%</c:formatCode>
                <c:ptCount val="1"/>
                <c:pt idx="0">
                  <c:v>0.418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45A2-44FB-8F7B-9BC1EF59F5D8}"/>
            </c:ext>
          </c:extLst>
        </c:ser>
        <c:ser>
          <c:idx val="1"/>
          <c:order val="1"/>
          <c:tx>
            <c:strRef>
              <c:f>List1!$C$2</c:f>
              <c:strCache>
                <c:ptCount val="1"/>
                <c:pt idx="0">
                  <c:v>A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168851073861163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</c:f>
              <c:numCache>
                <c:formatCode>0.00%</c:formatCode>
                <c:ptCount val="1"/>
                <c:pt idx="0">
                  <c:v>0.70299999999999996</c:v>
                </c:pt>
              </c:numCache>
            </c:numRef>
          </c:xVal>
          <c:yVal>
            <c:numRef>
              <c:f>List1!$A$2</c:f>
              <c:numCache>
                <c:formatCode>0.00%</c:formatCode>
                <c:ptCount val="1"/>
                <c:pt idx="0">
                  <c:v>0.233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5A2-44FB-8F7B-9BC1EF59F5D8}"/>
            </c:ext>
          </c:extLst>
        </c:ser>
        <c:ser>
          <c:idx val="2"/>
          <c:order val="2"/>
          <c:tx>
            <c:strRef>
              <c:f>List1!$C$4</c:f>
              <c:strCache>
                <c:ptCount val="1"/>
                <c:pt idx="0">
                  <c:v>B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218537320889943E-3"/>
                  <c:y val="-1.399911816578483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4</c:f>
              <c:numCache>
                <c:formatCode>0.00%</c:formatCode>
                <c:ptCount val="1"/>
                <c:pt idx="0">
                  <c:v>0.14499999999999999</c:v>
                </c:pt>
              </c:numCache>
            </c:numRef>
          </c:xVal>
          <c:yVal>
            <c:numRef>
              <c:f>List1!$A$4</c:f>
              <c:numCache>
                <c:formatCode>0.00%</c:formatCode>
                <c:ptCount val="1"/>
                <c:pt idx="0">
                  <c:v>0.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149-402E-9150-02BFAEF7D23C}"/>
            </c:ext>
          </c:extLst>
        </c:ser>
        <c:ser>
          <c:idx val="3"/>
          <c:order val="3"/>
          <c:tx>
            <c:strRef>
              <c:f>List1!$C$5</c:f>
              <c:strCache>
                <c:ptCount val="1"/>
                <c:pt idx="0">
                  <c:v>H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4.1951247362261056E-4"/>
                  <c:y val="-1.16659318048206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5</c:f>
              <c:numCache>
                <c:formatCode>0.00%</c:formatCode>
                <c:ptCount val="1"/>
                <c:pt idx="0">
                  <c:v>0.28499999999999998</c:v>
                </c:pt>
              </c:numCache>
            </c:numRef>
          </c:xVal>
          <c:yVal>
            <c:numRef>
              <c:f>List1!$A$5</c:f>
              <c:numCache>
                <c:formatCode>0.00%</c:formatCode>
                <c:ptCount val="1"/>
                <c:pt idx="0">
                  <c:v>1.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9149-402E-9150-02BFAEF7D23C}"/>
            </c:ext>
          </c:extLst>
        </c:ser>
        <c:ser>
          <c:idx val="4"/>
          <c:order val="4"/>
          <c:tx>
            <c:strRef>
              <c:f>List1!$C$6</c:f>
              <c:strCache>
                <c:ptCount val="1"/>
                <c:pt idx="0">
                  <c:v>CY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694867095843665E-3"/>
                  <c:y val="-2.333186360964309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6</c:f>
              <c:numCache>
                <c:formatCode>0.00%</c:formatCode>
                <c:ptCount val="1"/>
                <c:pt idx="0">
                  <c:v>0.67</c:v>
                </c:pt>
              </c:numCache>
            </c:numRef>
          </c:xVal>
          <c:yVal>
            <c:numRef>
              <c:f>List1!$A$6</c:f>
              <c:numCache>
                <c:formatCode>0.00%</c:formatCode>
                <c:ptCount val="1"/>
                <c:pt idx="0">
                  <c:v>9.600000000000000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149-402E-9150-02BFAEF7D23C}"/>
            </c:ext>
          </c:extLst>
        </c:ser>
        <c:ser>
          <c:idx val="5"/>
          <c:order val="5"/>
          <c:tx>
            <c:strRef>
              <c:f>List1!$C$7</c:f>
              <c:strCache>
                <c:ptCount val="1"/>
                <c:pt idx="0">
                  <c:v>CZ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9674482525641365E-3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7</c:f>
              <c:numCache>
                <c:formatCode>0.00%</c:formatCode>
                <c:ptCount val="1"/>
                <c:pt idx="0">
                  <c:v>0.49399999999999999</c:v>
                </c:pt>
              </c:numCache>
            </c:numRef>
          </c:xVal>
          <c:yVal>
            <c:numRef>
              <c:f>List1!$A$7</c:f>
              <c:numCache>
                <c:formatCode>0.00%</c:formatCode>
                <c:ptCount val="1"/>
                <c:pt idx="0">
                  <c:v>9.099999999999999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9149-402E-9150-02BFAEF7D23C}"/>
            </c:ext>
          </c:extLst>
        </c:ser>
        <c:ser>
          <c:idx val="6"/>
          <c:order val="6"/>
          <c:tx>
            <c:strRef>
              <c:f>List1!$C$8</c:f>
              <c:strCache>
                <c:ptCount val="1"/>
                <c:pt idx="0">
                  <c:v>D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023962857688971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8</c:f>
              <c:numCache>
                <c:formatCode>0.00%</c:formatCode>
                <c:ptCount val="1"/>
                <c:pt idx="0">
                  <c:v>0.78200000000000003</c:v>
                </c:pt>
              </c:numCache>
            </c:numRef>
          </c:xVal>
          <c:yVal>
            <c:numRef>
              <c:f>List1!$A$8</c:f>
              <c:numCache>
                <c:formatCode>0.00%</c:formatCode>
                <c:ptCount val="1"/>
                <c:pt idx="0">
                  <c:v>0.407999999999999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9149-402E-9150-02BFAEF7D23C}"/>
            </c:ext>
          </c:extLst>
        </c:ser>
        <c:ser>
          <c:idx val="7"/>
          <c:order val="7"/>
          <c:tx>
            <c:strRef>
              <c:f>List1!$C$9</c:f>
              <c:strCache>
                <c:ptCount val="1"/>
                <c:pt idx="0">
                  <c:v>E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</a:schemeClr>
              </a:solidFill>
              <a:ln w="9525">
                <a:solidFill>
                  <a:schemeClr val="accent2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1196545869262337E-2"/>
                  <c:y val="-9.332745443856555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9</c:f>
              <c:numCache>
                <c:formatCode>0.00%</c:formatCode>
                <c:ptCount val="1"/>
                <c:pt idx="0">
                  <c:v>0.45</c:v>
                </c:pt>
              </c:numCache>
            </c:numRef>
          </c:xVal>
          <c:yVal>
            <c:numRef>
              <c:f>List1!$A$9</c:f>
              <c:numCache>
                <c:formatCode>0.00%</c:formatCode>
                <c:ptCount val="1"/>
                <c:pt idx="0">
                  <c:v>0.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9149-402E-9150-02BFAEF7D23C}"/>
            </c:ext>
          </c:extLst>
        </c:ser>
        <c:ser>
          <c:idx val="8"/>
          <c:order val="8"/>
          <c:tx>
            <c:strRef>
              <c:f>List1!$C$10</c:f>
              <c:strCache>
                <c:ptCount val="1"/>
                <c:pt idx="0">
                  <c:v>F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</a:schemeClr>
              </a:solidFill>
              <a:ln w="9525">
                <a:solidFill>
                  <a:schemeClr val="accent3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6501187040077054E-2"/>
                  <c:y val="-2.56650499706055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0</c:f>
              <c:numCache>
                <c:formatCode>0.00%</c:formatCode>
                <c:ptCount val="1"/>
                <c:pt idx="0">
                  <c:v>0.68200000000000005</c:v>
                </c:pt>
              </c:numCache>
            </c:numRef>
          </c:xVal>
          <c:yVal>
            <c:numRef>
              <c:f>List1!$A$10</c:f>
              <c:numCache>
                <c:formatCode>0.00%</c:formatCode>
                <c:ptCount val="1"/>
                <c:pt idx="0">
                  <c:v>0.27700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9149-402E-9150-02BFAEF7D23C}"/>
            </c:ext>
          </c:extLst>
        </c:ser>
        <c:ser>
          <c:idx val="9"/>
          <c:order val="9"/>
          <c:tx>
            <c:strRef>
              <c:f>List1!$C$11</c:f>
              <c:strCache>
                <c:ptCount val="1"/>
                <c:pt idx="0">
                  <c:v>FR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</a:schemeClr>
              </a:solidFill>
              <a:ln w="9525">
                <a:solidFill>
                  <a:schemeClr val="accent4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3686446458355723E-3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1</c:f>
              <c:numCache>
                <c:formatCode>0.00%</c:formatCode>
                <c:ptCount val="1"/>
                <c:pt idx="0">
                  <c:v>0.753</c:v>
                </c:pt>
              </c:numCache>
            </c:numRef>
          </c:xVal>
          <c:yVal>
            <c:numRef>
              <c:f>List1!$A$11</c:f>
              <c:numCache>
                <c:formatCode>0.00%</c:formatCode>
                <c:ptCount val="1"/>
                <c:pt idx="0">
                  <c:v>0.1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9149-402E-9150-02BFAEF7D23C}"/>
            </c:ext>
          </c:extLst>
        </c:ser>
        <c:ser>
          <c:idx val="10"/>
          <c:order val="10"/>
          <c:tx>
            <c:strRef>
              <c:f>List1!$C$12</c:f>
              <c:strCache>
                <c:ptCount val="1"/>
                <c:pt idx="0">
                  <c:v>D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60000"/>
                </a:schemeClr>
              </a:solidFill>
              <a:ln w="9525">
                <a:solidFill>
                  <a:schemeClr val="accent5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2498469746362682E-2"/>
                  <c:y val="-4.1332304526748971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2</c:f>
              <c:numCache>
                <c:formatCode>0.00%</c:formatCode>
                <c:ptCount val="1"/>
                <c:pt idx="0">
                  <c:v>0.73</c:v>
                </c:pt>
              </c:numCache>
            </c:numRef>
          </c:xVal>
          <c:yVal>
            <c:numRef>
              <c:f>List1!$A$12</c:f>
              <c:numCache>
                <c:formatCode>0.00%</c:formatCode>
                <c:ptCount val="1"/>
                <c:pt idx="0">
                  <c:v>0.1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9149-402E-9150-02BFAEF7D23C}"/>
            </c:ext>
          </c:extLst>
        </c:ser>
        <c:ser>
          <c:idx val="11"/>
          <c:order val="11"/>
          <c:tx>
            <c:strRef>
              <c:f>List1!$C$13</c:f>
              <c:strCache>
                <c:ptCount val="1"/>
                <c:pt idx="0">
                  <c:v>E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60000"/>
                </a:schemeClr>
              </a:solidFill>
              <a:ln w="9525">
                <a:solidFill>
                  <a:schemeClr val="accent6">
                    <a:lumMod val="6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536918610502192E-2"/>
                  <c:y val="-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3</c:f>
              <c:numCache>
                <c:formatCode>0.00%</c:formatCode>
                <c:ptCount val="1"/>
                <c:pt idx="0">
                  <c:v>0.66700000000000004</c:v>
                </c:pt>
              </c:numCache>
            </c:numRef>
          </c:xVal>
          <c:yVal>
            <c:numRef>
              <c:f>List1!$A$13</c:f>
              <c:numCache>
                <c:formatCode>0.00%</c:formatCode>
                <c:ptCount val="1"/>
                <c:pt idx="0">
                  <c:v>0.11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9149-402E-9150-02BFAEF7D23C}"/>
            </c:ext>
          </c:extLst>
        </c:ser>
        <c:ser>
          <c:idx val="12"/>
          <c:order val="12"/>
          <c:tx>
            <c:strRef>
              <c:f>List1!$C$14</c:f>
              <c:strCache>
                <c:ptCount val="1"/>
                <c:pt idx="0">
                  <c:v>H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  <a:lumOff val="20000"/>
                </a:schemeClr>
              </a:solidFill>
              <a:ln w="9525">
                <a:solidFill>
                  <a:schemeClr val="accent1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5058060184319758E-2"/>
                  <c:y val="-1.866549088771311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4</c:f>
              <c:numCache>
                <c:formatCode>0.00%</c:formatCode>
                <c:ptCount val="1"/>
                <c:pt idx="0">
                  <c:v>0.47499999999999998</c:v>
                </c:pt>
              </c:numCache>
            </c:numRef>
          </c:xVal>
          <c:yVal>
            <c:numRef>
              <c:f>List1!$A$14</c:f>
              <c:numCache>
                <c:formatCode>0.00%</c:formatCode>
                <c:ptCount val="1"/>
                <c:pt idx="0">
                  <c:v>5.199999999999999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A-9149-402E-9150-02BFAEF7D23C}"/>
            </c:ext>
          </c:extLst>
        </c:ser>
        <c:ser>
          <c:idx val="13"/>
          <c:order val="13"/>
          <c:tx>
            <c:strRef>
              <c:f>List1!$C$15</c:f>
              <c:strCache>
                <c:ptCount val="1"/>
                <c:pt idx="0">
                  <c:v>I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  <a:lumOff val="20000"/>
                </a:schemeClr>
              </a:solidFill>
              <a:ln w="9525">
                <a:solidFill>
                  <a:schemeClr val="accent2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863250904636667E-3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5</c:f>
              <c:numCache>
                <c:formatCode>0.00%</c:formatCode>
                <c:ptCount val="1"/>
                <c:pt idx="0">
                  <c:v>0.87</c:v>
                </c:pt>
              </c:numCache>
            </c:numRef>
          </c:xVal>
          <c:yVal>
            <c:numRef>
              <c:f>List1!$A$15</c:f>
              <c:numCache>
                <c:formatCode>0.00%</c:formatCode>
                <c:ptCount val="1"/>
                <c:pt idx="0">
                  <c:v>0.21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9149-402E-9150-02BFAEF7D23C}"/>
            </c:ext>
          </c:extLst>
        </c:ser>
        <c:ser>
          <c:idx val="14"/>
          <c:order val="14"/>
          <c:tx>
            <c:strRef>
              <c:f>List1!$C$16</c:f>
              <c:strCache>
                <c:ptCount val="1"/>
                <c:pt idx="0">
                  <c:v>I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  <a:lumOff val="20000"/>
                </a:schemeClr>
              </a:solidFill>
              <a:ln w="9525">
                <a:solidFill>
                  <a:schemeClr val="accent3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8.2192346666481973E-3"/>
                  <c:y val="-3.499779541446208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6</c:f>
              <c:numCache>
                <c:formatCode>0.00%</c:formatCode>
                <c:ptCount val="1"/>
                <c:pt idx="0">
                  <c:v>0.77600000000000002</c:v>
                </c:pt>
              </c:numCache>
            </c:numRef>
          </c:xVal>
          <c:yVal>
            <c:numRef>
              <c:f>List1!$A$16</c:f>
              <c:numCache>
                <c:formatCode>0.00%</c:formatCode>
                <c:ptCount val="1"/>
                <c:pt idx="0">
                  <c:v>0.323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C-9149-402E-9150-02BFAEF7D23C}"/>
            </c:ext>
          </c:extLst>
        </c:ser>
        <c:ser>
          <c:idx val="15"/>
          <c:order val="15"/>
          <c:tx>
            <c:strRef>
              <c:f>List1!$C$17</c:f>
              <c:strCache>
                <c:ptCount val="1"/>
                <c:pt idx="0">
                  <c:v>I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  <a:lumOff val="20000"/>
                </a:schemeClr>
              </a:solidFill>
              <a:ln w="9525">
                <a:solidFill>
                  <a:schemeClr val="accent4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537075417924015E-2"/>
                  <c:y val="-1.9330357142857142E-2"/>
                </c:manualLayout>
              </c:layout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7</c:f>
              <c:numCache>
                <c:formatCode>0.00%</c:formatCode>
                <c:ptCount val="1"/>
                <c:pt idx="0">
                  <c:v>0.86199999999999999</c:v>
                </c:pt>
              </c:numCache>
            </c:numRef>
          </c:xVal>
          <c:yVal>
            <c:numRef>
              <c:f>List1!$A$17</c:f>
              <c:numCache>
                <c:formatCode>0.00%</c:formatCode>
                <c:ptCount val="1"/>
                <c:pt idx="0">
                  <c:v>0.135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9149-402E-9150-02BFAEF7D23C}"/>
            </c:ext>
          </c:extLst>
        </c:ser>
        <c:ser>
          <c:idx val="16"/>
          <c:order val="16"/>
          <c:tx>
            <c:strRef>
              <c:f>List1!$C$18</c:f>
              <c:strCache>
                <c:ptCount val="1"/>
                <c:pt idx="0">
                  <c:v>LV</c:v>
                </c:pt>
              </c:strCache>
            </c:strRef>
          </c:tx>
          <c:spPr>
            <a:ln w="25400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  <a:lumOff val="20000"/>
                </a:schemeClr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4.2984702988720522E-2"/>
                  <c:y val="4.666372721928277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8</c:f>
              <c:numCache>
                <c:formatCode>0.00%</c:formatCode>
                <c:ptCount val="1"/>
                <c:pt idx="0">
                  <c:v>0.35699999999999998</c:v>
                </c:pt>
              </c:numCache>
            </c:numRef>
          </c:xVal>
          <c:yVal>
            <c:numRef>
              <c:f>List1!$A$18</c:f>
              <c:numCache>
                <c:formatCode>0.00%</c:formatCode>
                <c:ptCount val="1"/>
                <c:pt idx="0">
                  <c:v>4.299999999999999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E-9149-402E-9150-02BFAEF7D23C}"/>
            </c:ext>
          </c:extLst>
        </c:ser>
        <c:ser>
          <c:idx val="28"/>
          <c:order val="17"/>
          <c:tx>
            <c:strRef>
              <c:f>List1!$C$19</c:f>
              <c:strCache>
                <c:ptCount val="1"/>
                <c:pt idx="0">
                  <c:v>LI</c:v>
                </c:pt>
              </c:strCache>
            </c:strRef>
          </c:tx>
          <c:spPr>
            <a:ln w="25400" cap="rnd">
              <a:solidFill>
                <a:schemeClr val="accent1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75000"/>
                </a:schemeClr>
              </a:solidFill>
              <a:ln w="9525">
                <a:solidFill>
                  <a:schemeClr val="accent1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9.7388985409937612E-3"/>
                  <c:y val="6.9995590828924158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19</c:f>
              <c:numCache>
                <c:formatCode>0.00%</c:formatCode>
                <c:ptCount val="1"/>
                <c:pt idx="0">
                  <c:v>0.57099999999999995</c:v>
                </c:pt>
              </c:numCache>
            </c:numRef>
          </c:xVal>
          <c:yVal>
            <c:numRef>
              <c:f>List1!$A$19</c:f>
              <c:numCache>
                <c:formatCode>0.00%</c:formatCode>
                <c:ptCount val="1"/>
                <c:pt idx="0">
                  <c:v>0.10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970D-44E3-9271-C9D0012D0ABC}"/>
            </c:ext>
          </c:extLst>
        </c:ser>
        <c:ser>
          <c:idx val="17"/>
          <c:order val="18"/>
          <c:tx>
            <c:strRef>
              <c:f>List1!$C$20</c:f>
              <c:strCache>
                <c:ptCount val="1"/>
                <c:pt idx="0">
                  <c:v>L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8041930462485926E-2"/>
                  <c:y val="-2.099867724867724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0</c:f>
              <c:numCache>
                <c:formatCode>0.00%</c:formatCode>
                <c:ptCount val="1"/>
                <c:pt idx="0">
                  <c:v>0.39200000000000002</c:v>
                </c:pt>
              </c:numCache>
            </c:numRef>
          </c:xVal>
          <c:yVal>
            <c:numRef>
              <c:f>List1!$A$20</c:f>
              <c:numCache>
                <c:formatCode>0.00%</c:formatCode>
                <c:ptCount val="1"/>
                <c:pt idx="0">
                  <c:v>1.6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9149-402E-9150-02BFAEF7D23C}"/>
            </c:ext>
          </c:extLst>
        </c:ser>
        <c:ser>
          <c:idx val="18"/>
          <c:order val="19"/>
          <c:tx>
            <c:strRef>
              <c:f>List1!$C$21</c:f>
              <c:strCache>
                <c:ptCount val="1"/>
                <c:pt idx="0">
                  <c:v>LU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80000"/>
                </a:schemeClr>
              </a:solidFill>
              <a:ln w="9525">
                <a:solidFill>
                  <a:schemeClr val="accent1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4854602554356072E-2"/>
                  <c:y val="-9.332653586125809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0072295851404446E-2"/>
                      <c:h val="3.113646384479717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1</c:f>
              <c:numCache>
                <c:formatCode>0.00%</c:formatCode>
                <c:ptCount val="1"/>
                <c:pt idx="0">
                  <c:v>0.68100000000000005</c:v>
                </c:pt>
              </c:numCache>
            </c:numRef>
          </c:xVal>
          <c:yVal>
            <c:numRef>
              <c:f>List1!$A$21</c:f>
              <c:numCache>
                <c:formatCode>0.00%</c:formatCode>
                <c:ptCount val="1"/>
                <c:pt idx="0">
                  <c:v>0.1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9149-402E-9150-02BFAEF7D23C}"/>
            </c:ext>
          </c:extLst>
        </c:ser>
        <c:ser>
          <c:idx val="19"/>
          <c:order val="20"/>
          <c:tx>
            <c:strRef>
              <c:f>List1!$C$22</c:f>
              <c:strCache>
                <c:ptCount val="1"/>
                <c:pt idx="0">
                  <c:v>M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80000"/>
                </a:schemeClr>
              </a:solidFill>
              <a:ln w="9525">
                <a:solidFill>
                  <a:schemeClr val="accent2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1.7957343908538124E-2"/>
                  <c:y val="-3.56626616696061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2</c:f>
              <c:numCache>
                <c:formatCode>0.00%</c:formatCode>
                <c:ptCount val="1"/>
                <c:pt idx="0">
                  <c:v>0.81200000000000006</c:v>
                </c:pt>
              </c:numCache>
            </c:numRef>
          </c:xVal>
          <c:yVal>
            <c:numRef>
              <c:f>List1!$A$22</c:f>
              <c:numCache>
                <c:formatCode>0.00%</c:formatCode>
                <c:ptCount val="1"/>
                <c:pt idx="0">
                  <c:v>0.145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1-9149-402E-9150-02BFAEF7D23C}"/>
            </c:ext>
          </c:extLst>
        </c:ser>
        <c:ser>
          <c:idx val="20"/>
          <c:order val="21"/>
          <c:tx>
            <c:strRef>
              <c:f>List1!$C$23</c:f>
              <c:strCache>
                <c:ptCount val="1"/>
                <c:pt idx="0">
                  <c:v>N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80000"/>
                </a:schemeClr>
              </a:solidFill>
              <a:ln w="9525">
                <a:solidFill>
                  <a:schemeClr val="accent3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7.2305520318466404E-2"/>
                  <c:y val="2.44983649323927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1742978954260245E-2"/>
                      <c:h val="5.680151381540269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670-40CC-87AC-1F8CD69998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3</c:f>
              <c:numCache>
                <c:formatCode>0.00%</c:formatCode>
                <c:ptCount val="1"/>
                <c:pt idx="0">
                  <c:v>0.66100000000000003</c:v>
                </c:pt>
              </c:numCache>
            </c:numRef>
          </c:xVal>
          <c:yVal>
            <c:numRef>
              <c:f>List1!$A$23</c:f>
              <c:numCache>
                <c:formatCode>0.00%</c:formatCode>
                <c:ptCount val="1"/>
                <c:pt idx="0">
                  <c:v>0.19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9149-402E-9150-02BFAEF7D23C}"/>
            </c:ext>
          </c:extLst>
        </c:ser>
        <c:ser>
          <c:idx val="21"/>
          <c:order val="22"/>
          <c:tx>
            <c:strRef>
              <c:f>List1!$C$24</c:f>
              <c:strCache>
                <c:ptCount val="1"/>
                <c:pt idx="0">
                  <c:v>N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80000"/>
                </a:schemeClr>
              </a:solidFill>
              <a:ln w="9525">
                <a:solidFill>
                  <a:schemeClr val="accent4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2.0501254919799854E-2"/>
                  <c:y val="-2.333186360964138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4</c:f>
              <c:numCache>
                <c:formatCode>0.00%</c:formatCode>
                <c:ptCount val="1"/>
                <c:pt idx="0">
                  <c:v>0.70499999999999996</c:v>
                </c:pt>
              </c:numCache>
            </c:numRef>
          </c:xVal>
          <c:yVal>
            <c:numRef>
              <c:f>List1!$A$24</c:f>
              <c:numCache>
                <c:formatCode>0.00%</c:formatCode>
                <c:ptCount val="1"/>
                <c:pt idx="0">
                  <c:v>0.208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3-9149-402E-9150-02BFAEF7D23C}"/>
            </c:ext>
          </c:extLst>
        </c:ser>
        <c:ser>
          <c:idx val="22"/>
          <c:order val="23"/>
          <c:tx>
            <c:strRef>
              <c:f>List1!$C$25</c:f>
              <c:strCache>
                <c:ptCount val="1"/>
                <c:pt idx="0">
                  <c:v>P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80000"/>
                </a:schemeClr>
              </a:solidFill>
              <a:ln w="25400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4480268245931395E-2"/>
                  <c:y val="2.3331863609641389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5</c:f>
              <c:numCache>
                <c:formatCode>0.00%</c:formatCode>
                <c:ptCount val="1"/>
                <c:pt idx="0">
                  <c:v>0.39300000000000002</c:v>
                </c:pt>
              </c:numCache>
            </c:numRef>
          </c:xVal>
          <c:yVal>
            <c:numRef>
              <c:f>List1!$A$25</c:f>
              <c:numCache>
                <c:formatCode>0.00%</c:formatCode>
                <c:ptCount val="1"/>
                <c:pt idx="0">
                  <c:v>8.5999999999999993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9149-402E-9150-02BFAEF7D23C}"/>
            </c:ext>
          </c:extLst>
        </c:ser>
        <c:ser>
          <c:idx val="23"/>
          <c:order val="24"/>
          <c:tx>
            <c:strRef>
              <c:f>List1!$C$26</c:f>
              <c:strCache>
                <c:ptCount val="1"/>
                <c:pt idx="0">
                  <c:v>PT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</a:schemeClr>
              </a:solidFill>
              <a:ln w="9525">
                <a:solidFill>
                  <a:schemeClr val="accent6">
                    <a:lumMod val="8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9593084740072747E-2"/>
                  <c:y val="-4.6663727219282665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38A-4224-89D1-2C7D3FE02E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6</c:f>
              <c:numCache>
                <c:formatCode>0.00%</c:formatCode>
                <c:ptCount val="1"/>
                <c:pt idx="0">
                  <c:v>0.81799999999999995</c:v>
                </c:pt>
              </c:numCache>
            </c:numRef>
          </c:xVal>
          <c:yVal>
            <c:numRef>
              <c:f>List1!$A$26</c:f>
              <c:numCache>
                <c:formatCode>0.00%</c:formatCode>
                <c:ptCount val="1"/>
                <c:pt idx="0">
                  <c:v>0.3619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5-9149-402E-9150-02BFAEF7D23C}"/>
            </c:ext>
          </c:extLst>
        </c:ser>
        <c:ser>
          <c:idx val="24"/>
          <c:order val="25"/>
          <c:tx>
            <c:strRef>
              <c:f>List1!$C$27</c:f>
              <c:strCache>
                <c:ptCount val="1"/>
                <c:pt idx="0">
                  <c:v>RO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  <a:lumOff val="40000"/>
                </a:schemeClr>
              </a:solidFill>
              <a:ln w="9525">
                <a:solidFill>
                  <a:schemeClr val="accent1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3178714023911288E-2"/>
                  <c:y val="-2.799823633156983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B66-49F0-87A3-3B9192B845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7</c:f>
              <c:numCache>
                <c:formatCode>0.00%</c:formatCode>
                <c:ptCount val="1"/>
                <c:pt idx="0">
                  <c:v>0.113</c:v>
                </c:pt>
              </c:numCache>
            </c:numRef>
          </c:xVal>
          <c:yVal>
            <c:numRef>
              <c:f>List1!$A$27</c:f>
              <c:numCache>
                <c:formatCode>0.00%</c:formatCode>
                <c:ptCount val="1"/>
                <c:pt idx="0">
                  <c:v>2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6-9149-402E-9150-02BFAEF7D23C}"/>
            </c:ext>
          </c:extLst>
        </c:ser>
        <c:ser>
          <c:idx val="25"/>
          <c:order val="26"/>
          <c:tx>
            <c:strRef>
              <c:f>List1!$C$28</c:f>
              <c:strCache>
                <c:ptCount val="1"/>
                <c:pt idx="0">
                  <c:v>SK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accent2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633551578920511E-2"/>
                  <c:y val="-2.3331863609641557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8</c:f>
              <c:numCache>
                <c:formatCode>0.00%</c:formatCode>
                <c:ptCount val="1"/>
                <c:pt idx="0">
                  <c:v>0.378</c:v>
                </c:pt>
              </c:numCache>
            </c:numRef>
          </c:xVal>
          <c:yVal>
            <c:numRef>
              <c:f>List1!$A$28</c:f>
              <c:numCache>
                <c:formatCode>0.00%</c:formatCode>
                <c:ptCount val="1"/>
                <c:pt idx="0">
                  <c:v>1.700000000000000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7-9149-402E-9150-02BFAEF7D23C}"/>
            </c:ext>
          </c:extLst>
        </c:ser>
        <c:ser>
          <c:idx val="26"/>
          <c:order val="27"/>
          <c:tx>
            <c:strRef>
              <c:f>List1!$C$29</c:f>
              <c:strCache>
                <c:ptCount val="1"/>
                <c:pt idx="0">
                  <c:v>SI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3">
                  <a:lumMod val="60000"/>
                  <a:lumOff val="40000"/>
                </a:schemeClr>
              </a:solidFill>
              <a:ln w="9525">
                <a:solidFill>
                  <a:schemeClr val="accent3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3221837380442562E-2"/>
                  <c:y val="-2.5665049970605525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DBA-474B-976E-F746759762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29</c:f>
              <c:numCache>
                <c:formatCode>0.00%</c:formatCode>
                <c:ptCount val="1"/>
                <c:pt idx="0">
                  <c:v>0.376</c:v>
                </c:pt>
              </c:numCache>
            </c:numRef>
          </c:xVal>
          <c:yVal>
            <c:numRef>
              <c:f>List1!$A$29</c:f>
              <c:numCache>
                <c:formatCode>0.00%</c:formatCode>
                <c:ptCount val="1"/>
                <c:pt idx="0">
                  <c:v>4.499999999999999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8-9149-402E-9150-02BFAEF7D23C}"/>
            </c:ext>
          </c:extLst>
        </c:ser>
        <c:ser>
          <c:idx val="27"/>
          <c:order val="28"/>
          <c:tx>
            <c:strRef>
              <c:f>List1!$C$30</c:f>
              <c:strCache>
                <c:ptCount val="1"/>
                <c:pt idx="0">
                  <c:v>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>
                  <a:lumMod val="60000"/>
                  <a:lumOff val="40000"/>
                </a:schemeClr>
              </a:solidFill>
              <a:ln w="9525"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4993156119021569E-2"/>
                  <c:y val="4.899691358024691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70D-44E3-9271-C9D0012D0A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0</c:f>
              <c:numCache>
                <c:formatCode>0.00%</c:formatCode>
                <c:ptCount val="1"/>
                <c:pt idx="0">
                  <c:v>0.67500000000000004</c:v>
                </c:pt>
              </c:numCache>
            </c:numRef>
          </c:xVal>
          <c:yVal>
            <c:numRef>
              <c:f>List1!$A$30</c:f>
              <c:numCache>
                <c:formatCode>0.00%</c:formatCode>
                <c:ptCount val="1"/>
                <c:pt idx="0">
                  <c:v>0.234000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9-9149-402E-9150-02BFAEF7D23C}"/>
            </c:ext>
          </c:extLst>
        </c:ser>
        <c:ser>
          <c:idx val="30"/>
          <c:order val="29"/>
          <c:tx>
            <c:strRef>
              <c:f>List1!$C$31</c:f>
              <c:strCache>
                <c:ptCount val="1"/>
                <c:pt idx="0">
                  <c:v>S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>
                    <a:lumMod val="50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9652783377781836E-2"/>
                  <c:y val="-2.799823633156966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D7-4442-BA00-D1571E6295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B$31</c:f>
              <c:numCache>
                <c:formatCode>0.00%</c:formatCode>
                <c:ptCount val="1"/>
                <c:pt idx="0">
                  <c:v>0.67800000000000005</c:v>
                </c:pt>
              </c:numCache>
            </c:numRef>
          </c:xVal>
          <c:yVal>
            <c:numRef>
              <c:f>List1!$A$31</c:f>
              <c:numCache>
                <c:formatCode>0.00%</c:formatCode>
                <c:ptCount val="1"/>
                <c:pt idx="0">
                  <c:v>0.352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2-8DBA-474B-976E-F74675976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9293520"/>
        <c:axId val="359288424"/>
      </c:scatterChart>
      <c:valAx>
        <c:axId val="359293520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288424"/>
        <c:crosses val="autoZero"/>
        <c:crossBetween val="midCat"/>
      </c:valAx>
      <c:valAx>
        <c:axId val="359288424"/>
        <c:scaling>
          <c:orientation val="minMax"/>
          <c:max val="0.4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929352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014811743951046E-2"/>
          <c:y val="3.0040942254712374E-2"/>
          <c:w val="0.93069323165507978"/>
          <c:h val="0.7409880076104559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linicky indikované testy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trendline>
            <c:spPr>
              <a:ln w="25400" cap="rnd">
                <a:solidFill>
                  <a:srgbClr val="FF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910</c:f>
              <c:numCache>
                <c:formatCode>m/d/yyyy</c:formatCode>
                <c:ptCount val="90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  <c:pt idx="585">
                  <c:v>44660</c:v>
                </c:pt>
                <c:pt idx="586">
                  <c:v>44661</c:v>
                </c:pt>
                <c:pt idx="587">
                  <c:v>44662</c:v>
                </c:pt>
                <c:pt idx="588">
                  <c:v>44663</c:v>
                </c:pt>
                <c:pt idx="589">
                  <c:v>44664</c:v>
                </c:pt>
                <c:pt idx="590">
                  <c:v>44665</c:v>
                </c:pt>
                <c:pt idx="591">
                  <c:v>44666</c:v>
                </c:pt>
                <c:pt idx="592">
                  <c:v>44667</c:v>
                </c:pt>
                <c:pt idx="593">
                  <c:v>44668</c:v>
                </c:pt>
                <c:pt idx="594">
                  <c:v>44669</c:v>
                </c:pt>
                <c:pt idx="595">
                  <c:v>44670</c:v>
                </c:pt>
                <c:pt idx="596">
                  <c:v>44671</c:v>
                </c:pt>
                <c:pt idx="597">
                  <c:v>44672</c:v>
                </c:pt>
                <c:pt idx="598">
                  <c:v>44673</c:v>
                </c:pt>
                <c:pt idx="599">
                  <c:v>44674</c:v>
                </c:pt>
                <c:pt idx="600">
                  <c:v>44675</c:v>
                </c:pt>
                <c:pt idx="601">
                  <c:v>44676</c:v>
                </c:pt>
                <c:pt idx="602">
                  <c:v>44677</c:v>
                </c:pt>
                <c:pt idx="603">
                  <c:v>44678</c:v>
                </c:pt>
                <c:pt idx="604">
                  <c:v>44679</c:v>
                </c:pt>
                <c:pt idx="605">
                  <c:v>44680</c:v>
                </c:pt>
                <c:pt idx="606">
                  <c:v>44681</c:v>
                </c:pt>
                <c:pt idx="607">
                  <c:v>44682</c:v>
                </c:pt>
                <c:pt idx="608">
                  <c:v>44683</c:v>
                </c:pt>
                <c:pt idx="609">
                  <c:v>44684</c:v>
                </c:pt>
                <c:pt idx="610">
                  <c:v>44685</c:v>
                </c:pt>
                <c:pt idx="611">
                  <c:v>44686</c:v>
                </c:pt>
                <c:pt idx="612">
                  <c:v>44687</c:v>
                </c:pt>
                <c:pt idx="613">
                  <c:v>44688</c:v>
                </c:pt>
                <c:pt idx="614">
                  <c:v>44689</c:v>
                </c:pt>
                <c:pt idx="615">
                  <c:v>44690</c:v>
                </c:pt>
                <c:pt idx="616">
                  <c:v>44691</c:v>
                </c:pt>
                <c:pt idx="617">
                  <c:v>44692</c:v>
                </c:pt>
                <c:pt idx="618">
                  <c:v>44693</c:v>
                </c:pt>
                <c:pt idx="619">
                  <c:v>44694</c:v>
                </c:pt>
                <c:pt idx="620">
                  <c:v>44695</c:v>
                </c:pt>
                <c:pt idx="621">
                  <c:v>44696</c:v>
                </c:pt>
                <c:pt idx="622">
                  <c:v>44697</c:v>
                </c:pt>
                <c:pt idx="623">
                  <c:v>44698</c:v>
                </c:pt>
                <c:pt idx="624">
                  <c:v>44699</c:v>
                </c:pt>
                <c:pt idx="625">
                  <c:v>44700</c:v>
                </c:pt>
                <c:pt idx="626">
                  <c:v>44701</c:v>
                </c:pt>
                <c:pt idx="627">
                  <c:v>44702</c:v>
                </c:pt>
                <c:pt idx="628">
                  <c:v>44703</c:v>
                </c:pt>
                <c:pt idx="629">
                  <c:v>44704</c:v>
                </c:pt>
                <c:pt idx="630">
                  <c:v>44705</c:v>
                </c:pt>
                <c:pt idx="631">
                  <c:v>44706</c:v>
                </c:pt>
                <c:pt idx="632">
                  <c:v>44707</c:v>
                </c:pt>
                <c:pt idx="633">
                  <c:v>44708</c:v>
                </c:pt>
                <c:pt idx="634">
                  <c:v>44709</c:v>
                </c:pt>
                <c:pt idx="635">
                  <c:v>44710</c:v>
                </c:pt>
                <c:pt idx="636">
                  <c:v>44711</c:v>
                </c:pt>
                <c:pt idx="637">
                  <c:v>44712</c:v>
                </c:pt>
                <c:pt idx="638">
                  <c:v>44713</c:v>
                </c:pt>
                <c:pt idx="639">
                  <c:v>44714</c:v>
                </c:pt>
                <c:pt idx="640">
                  <c:v>44715</c:v>
                </c:pt>
                <c:pt idx="641">
                  <c:v>44716</c:v>
                </c:pt>
                <c:pt idx="642">
                  <c:v>44717</c:v>
                </c:pt>
                <c:pt idx="643">
                  <c:v>44718</c:v>
                </c:pt>
                <c:pt idx="644">
                  <c:v>44719</c:v>
                </c:pt>
                <c:pt idx="645">
                  <c:v>44720</c:v>
                </c:pt>
                <c:pt idx="646">
                  <c:v>44721</c:v>
                </c:pt>
                <c:pt idx="647">
                  <c:v>44722</c:v>
                </c:pt>
                <c:pt idx="648">
                  <c:v>44723</c:v>
                </c:pt>
                <c:pt idx="649">
                  <c:v>44724</c:v>
                </c:pt>
                <c:pt idx="650">
                  <c:v>44725</c:v>
                </c:pt>
                <c:pt idx="651">
                  <c:v>44726</c:v>
                </c:pt>
                <c:pt idx="652">
                  <c:v>44727</c:v>
                </c:pt>
                <c:pt idx="653">
                  <c:v>44728</c:v>
                </c:pt>
                <c:pt idx="654">
                  <c:v>44729</c:v>
                </c:pt>
                <c:pt idx="655">
                  <c:v>44730</c:v>
                </c:pt>
                <c:pt idx="656">
                  <c:v>44731</c:v>
                </c:pt>
                <c:pt idx="657">
                  <c:v>44732</c:v>
                </c:pt>
                <c:pt idx="658">
                  <c:v>44733</c:v>
                </c:pt>
                <c:pt idx="659">
                  <c:v>44734</c:v>
                </c:pt>
                <c:pt idx="660">
                  <c:v>44735</c:v>
                </c:pt>
                <c:pt idx="661">
                  <c:v>44736</c:v>
                </c:pt>
                <c:pt idx="662">
                  <c:v>44737</c:v>
                </c:pt>
                <c:pt idx="663">
                  <c:v>44738</c:v>
                </c:pt>
                <c:pt idx="664">
                  <c:v>44739</c:v>
                </c:pt>
                <c:pt idx="665">
                  <c:v>44740</c:v>
                </c:pt>
                <c:pt idx="666">
                  <c:v>44741</c:v>
                </c:pt>
                <c:pt idx="667">
                  <c:v>44742</c:v>
                </c:pt>
                <c:pt idx="668">
                  <c:v>44743</c:v>
                </c:pt>
                <c:pt idx="669">
                  <c:v>44744</c:v>
                </c:pt>
                <c:pt idx="670">
                  <c:v>44745</c:v>
                </c:pt>
                <c:pt idx="671">
                  <c:v>44746</c:v>
                </c:pt>
                <c:pt idx="672">
                  <c:v>44747</c:v>
                </c:pt>
                <c:pt idx="673">
                  <c:v>44748</c:v>
                </c:pt>
                <c:pt idx="674">
                  <c:v>44749</c:v>
                </c:pt>
                <c:pt idx="675">
                  <c:v>44750</c:v>
                </c:pt>
                <c:pt idx="676">
                  <c:v>44751</c:v>
                </c:pt>
                <c:pt idx="677">
                  <c:v>44752</c:v>
                </c:pt>
                <c:pt idx="678">
                  <c:v>44753</c:v>
                </c:pt>
                <c:pt idx="679">
                  <c:v>44754</c:v>
                </c:pt>
                <c:pt idx="680">
                  <c:v>44755</c:v>
                </c:pt>
                <c:pt idx="681">
                  <c:v>44756</c:v>
                </c:pt>
                <c:pt idx="682">
                  <c:v>44757</c:v>
                </c:pt>
                <c:pt idx="683">
                  <c:v>44758</c:v>
                </c:pt>
                <c:pt idx="684">
                  <c:v>44759</c:v>
                </c:pt>
                <c:pt idx="685">
                  <c:v>44760</c:v>
                </c:pt>
                <c:pt idx="686">
                  <c:v>44761</c:v>
                </c:pt>
                <c:pt idx="687">
                  <c:v>44762</c:v>
                </c:pt>
                <c:pt idx="688">
                  <c:v>44763</c:v>
                </c:pt>
                <c:pt idx="689">
                  <c:v>44764</c:v>
                </c:pt>
                <c:pt idx="690">
                  <c:v>44765</c:v>
                </c:pt>
                <c:pt idx="691">
                  <c:v>44766</c:v>
                </c:pt>
                <c:pt idx="692">
                  <c:v>44767</c:v>
                </c:pt>
                <c:pt idx="693">
                  <c:v>44768</c:v>
                </c:pt>
                <c:pt idx="694">
                  <c:v>44769</c:v>
                </c:pt>
                <c:pt idx="695">
                  <c:v>44770</c:v>
                </c:pt>
                <c:pt idx="696">
                  <c:v>44771</c:v>
                </c:pt>
                <c:pt idx="697">
                  <c:v>44772</c:v>
                </c:pt>
                <c:pt idx="698">
                  <c:v>44773</c:v>
                </c:pt>
                <c:pt idx="699">
                  <c:v>44774</c:v>
                </c:pt>
                <c:pt idx="700">
                  <c:v>44775</c:v>
                </c:pt>
                <c:pt idx="701">
                  <c:v>44776</c:v>
                </c:pt>
                <c:pt idx="702">
                  <c:v>44777</c:v>
                </c:pt>
                <c:pt idx="703">
                  <c:v>44778</c:v>
                </c:pt>
                <c:pt idx="704">
                  <c:v>44779</c:v>
                </c:pt>
                <c:pt idx="705">
                  <c:v>44780</c:v>
                </c:pt>
                <c:pt idx="706">
                  <c:v>44781</c:v>
                </c:pt>
                <c:pt idx="707">
                  <c:v>44782</c:v>
                </c:pt>
                <c:pt idx="708">
                  <c:v>44783</c:v>
                </c:pt>
                <c:pt idx="709">
                  <c:v>44784</c:v>
                </c:pt>
                <c:pt idx="710">
                  <c:v>44785</c:v>
                </c:pt>
                <c:pt idx="711">
                  <c:v>44786</c:v>
                </c:pt>
                <c:pt idx="712">
                  <c:v>44787</c:v>
                </c:pt>
                <c:pt idx="713">
                  <c:v>44788</c:v>
                </c:pt>
                <c:pt idx="714">
                  <c:v>44789</c:v>
                </c:pt>
                <c:pt idx="715">
                  <c:v>44790</c:v>
                </c:pt>
                <c:pt idx="716">
                  <c:v>44791</c:v>
                </c:pt>
                <c:pt idx="717">
                  <c:v>44792</c:v>
                </c:pt>
                <c:pt idx="718">
                  <c:v>44793</c:v>
                </c:pt>
                <c:pt idx="719">
                  <c:v>44794</c:v>
                </c:pt>
                <c:pt idx="720">
                  <c:v>44795</c:v>
                </c:pt>
                <c:pt idx="721">
                  <c:v>44796</c:v>
                </c:pt>
                <c:pt idx="722">
                  <c:v>44797</c:v>
                </c:pt>
                <c:pt idx="723">
                  <c:v>44798</c:v>
                </c:pt>
                <c:pt idx="724">
                  <c:v>44799</c:v>
                </c:pt>
                <c:pt idx="725">
                  <c:v>44800</c:v>
                </c:pt>
                <c:pt idx="726">
                  <c:v>44801</c:v>
                </c:pt>
                <c:pt idx="727">
                  <c:v>44802</c:v>
                </c:pt>
                <c:pt idx="728">
                  <c:v>44803</c:v>
                </c:pt>
                <c:pt idx="729">
                  <c:v>44804</c:v>
                </c:pt>
                <c:pt idx="730">
                  <c:v>44805</c:v>
                </c:pt>
                <c:pt idx="731">
                  <c:v>44806</c:v>
                </c:pt>
                <c:pt idx="732">
                  <c:v>44807</c:v>
                </c:pt>
                <c:pt idx="733">
                  <c:v>44808</c:v>
                </c:pt>
                <c:pt idx="734">
                  <c:v>44809</c:v>
                </c:pt>
                <c:pt idx="735">
                  <c:v>44810</c:v>
                </c:pt>
                <c:pt idx="736">
                  <c:v>44811</c:v>
                </c:pt>
                <c:pt idx="737">
                  <c:v>44812</c:v>
                </c:pt>
                <c:pt idx="738">
                  <c:v>44813</c:v>
                </c:pt>
                <c:pt idx="739">
                  <c:v>44814</c:v>
                </c:pt>
                <c:pt idx="740">
                  <c:v>44815</c:v>
                </c:pt>
                <c:pt idx="741">
                  <c:v>44816</c:v>
                </c:pt>
                <c:pt idx="742">
                  <c:v>44817</c:v>
                </c:pt>
                <c:pt idx="743">
                  <c:v>44818</c:v>
                </c:pt>
                <c:pt idx="744">
                  <c:v>44819</c:v>
                </c:pt>
                <c:pt idx="745">
                  <c:v>44820</c:v>
                </c:pt>
                <c:pt idx="746">
                  <c:v>44821</c:v>
                </c:pt>
                <c:pt idx="747">
                  <c:v>44822</c:v>
                </c:pt>
                <c:pt idx="748">
                  <c:v>44823</c:v>
                </c:pt>
                <c:pt idx="749">
                  <c:v>44824</c:v>
                </c:pt>
                <c:pt idx="750">
                  <c:v>44825</c:v>
                </c:pt>
                <c:pt idx="751">
                  <c:v>44826</c:v>
                </c:pt>
                <c:pt idx="752">
                  <c:v>44827</c:v>
                </c:pt>
                <c:pt idx="753">
                  <c:v>44828</c:v>
                </c:pt>
                <c:pt idx="754">
                  <c:v>44829</c:v>
                </c:pt>
                <c:pt idx="755">
                  <c:v>44830</c:v>
                </c:pt>
                <c:pt idx="756">
                  <c:v>44831</c:v>
                </c:pt>
                <c:pt idx="757">
                  <c:v>44832</c:v>
                </c:pt>
                <c:pt idx="758">
                  <c:v>44833</c:v>
                </c:pt>
                <c:pt idx="759">
                  <c:v>44834</c:v>
                </c:pt>
                <c:pt idx="760">
                  <c:v>44835</c:v>
                </c:pt>
                <c:pt idx="761">
                  <c:v>44836</c:v>
                </c:pt>
                <c:pt idx="762">
                  <c:v>44837</c:v>
                </c:pt>
                <c:pt idx="763">
                  <c:v>44838</c:v>
                </c:pt>
                <c:pt idx="764">
                  <c:v>44839</c:v>
                </c:pt>
                <c:pt idx="765">
                  <c:v>44840</c:v>
                </c:pt>
                <c:pt idx="766">
                  <c:v>44841</c:v>
                </c:pt>
                <c:pt idx="767">
                  <c:v>44842</c:v>
                </c:pt>
                <c:pt idx="768">
                  <c:v>44843</c:v>
                </c:pt>
                <c:pt idx="769">
                  <c:v>44844</c:v>
                </c:pt>
                <c:pt idx="770">
                  <c:v>44845</c:v>
                </c:pt>
                <c:pt idx="771">
                  <c:v>44846</c:v>
                </c:pt>
                <c:pt idx="772">
                  <c:v>44847</c:v>
                </c:pt>
                <c:pt idx="773">
                  <c:v>44848</c:v>
                </c:pt>
                <c:pt idx="774">
                  <c:v>44849</c:v>
                </c:pt>
                <c:pt idx="775">
                  <c:v>44850</c:v>
                </c:pt>
                <c:pt idx="776">
                  <c:v>44851</c:v>
                </c:pt>
                <c:pt idx="777">
                  <c:v>44852</c:v>
                </c:pt>
                <c:pt idx="778">
                  <c:v>44853</c:v>
                </c:pt>
                <c:pt idx="779">
                  <c:v>44854</c:v>
                </c:pt>
                <c:pt idx="780">
                  <c:v>44855</c:v>
                </c:pt>
                <c:pt idx="781">
                  <c:v>44856</c:v>
                </c:pt>
                <c:pt idx="782">
                  <c:v>44857</c:v>
                </c:pt>
                <c:pt idx="783">
                  <c:v>44858</c:v>
                </c:pt>
                <c:pt idx="784">
                  <c:v>44859</c:v>
                </c:pt>
                <c:pt idx="785">
                  <c:v>44860</c:v>
                </c:pt>
                <c:pt idx="786">
                  <c:v>44861</c:v>
                </c:pt>
                <c:pt idx="787">
                  <c:v>44862</c:v>
                </c:pt>
                <c:pt idx="788">
                  <c:v>44863</c:v>
                </c:pt>
                <c:pt idx="789">
                  <c:v>44864</c:v>
                </c:pt>
                <c:pt idx="790">
                  <c:v>44865</c:v>
                </c:pt>
                <c:pt idx="791">
                  <c:v>44866</c:v>
                </c:pt>
                <c:pt idx="792">
                  <c:v>44867</c:v>
                </c:pt>
                <c:pt idx="793">
                  <c:v>44868</c:v>
                </c:pt>
                <c:pt idx="794">
                  <c:v>44869</c:v>
                </c:pt>
                <c:pt idx="795">
                  <c:v>44870</c:v>
                </c:pt>
                <c:pt idx="796">
                  <c:v>44871</c:v>
                </c:pt>
                <c:pt idx="797">
                  <c:v>44872</c:v>
                </c:pt>
                <c:pt idx="798">
                  <c:v>44873</c:v>
                </c:pt>
                <c:pt idx="799">
                  <c:v>44874</c:v>
                </c:pt>
                <c:pt idx="800">
                  <c:v>44875</c:v>
                </c:pt>
                <c:pt idx="801">
                  <c:v>44876</c:v>
                </c:pt>
                <c:pt idx="802">
                  <c:v>44877</c:v>
                </c:pt>
                <c:pt idx="803">
                  <c:v>44878</c:v>
                </c:pt>
                <c:pt idx="804">
                  <c:v>44879</c:v>
                </c:pt>
                <c:pt idx="805">
                  <c:v>44880</c:v>
                </c:pt>
                <c:pt idx="806">
                  <c:v>44881</c:v>
                </c:pt>
                <c:pt idx="807">
                  <c:v>44882</c:v>
                </c:pt>
                <c:pt idx="808">
                  <c:v>44883</c:v>
                </c:pt>
                <c:pt idx="809">
                  <c:v>44884</c:v>
                </c:pt>
                <c:pt idx="810">
                  <c:v>44885</c:v>
                </c:pt>
                <c:pt idx="811">
                  <c:v>44886</c:v>
                </c:pt>
                <c:pt idx="812">
                  <c:v>44887</c:v>
                </c:pt>
                <c:pt idx="813">
                  <c:v>44888</c:v>
                </c:pt>
                <c:pt idx="814">
                  <c:v>44889</c:v>
                </c:pt>
                <c:pt idx="815">
                  <c:v>44890</c:v>
                </c:pt>
                <c:pt idx="816">
                  <c:v>44891</c:v>
                </c:pt>
                <c:pt idx="817">
                  <c:v>44892</c:v>
                </c:pt>
                <c:pt idx="818">
                  <c:v>44893</c:v>
                </c:pt>
                <c:pt idx="819">
                  <c:v>44894</c:v>
                </c:pt>
                <c:pt idx="820">
                  <c:v>44895</c:v>
                </c:pt>
                <c:pt idx="821">
                  <c:v>44896</c:v>
                </c:pt>
                <c:pt idx="822">
                  <c:v>44897</c:v>
                </c:pt>
                <c:pt idx="823">
                  <c:v>44898</c:v>
                </c:pt>
                <c:pt idx="824">
                  <c:v>44899</c:v>
                </c:pt>
                <c:pt idx="825">
                  <c:v>44900</c:v>
                </c:pt>
                <c:pt idx="826">
                  <c:v>44901</c:v>
                </c:pt>
                <c:pt idx="827">
                  <c:v>44902</c:v>
                </c:pt>
                <c:pt idx="828">
                  <c:v>44903</c:v>
                </c:pt>
                <c:pt idx="829">
                  <c:v>44904</c:v>
                </c:pt>
                <c:pt idx="830">
                  <c:v>44905</c:v>
                </c:pt>
                <c:pt idx="831">
                  <c:v>44906</c:v>
                </c:pt>
                <c:pt idx="832">
                  <c:v>44907</c:v>
                </c:pt>
                <c:pt idx="833">
                  <c:v>44908</c:v>
                </c:pt>
                <c:pt idx="834">
                  <c:v>44909</c:v>
                </c:pt>
                <c:pt idx="835">
                  <c:v>44910</c:v>
                </c:pt>
                <c:pt idx="836">
                  <c:v>44911</c:v>
                </c:pt>
                <c:pt idx="837">
                  <c:v>44912</c:v>
                </c:pt>
                <c:pt idx="838">
                  <c:v>44913</c:v>
                </c:pt>
                <c:pt idx="839">
                  <c:v>44914</c:v>
                </c:pt>
                <c:pt idx="840">
                  <c:v>44915</c:v>
                </c:pt>
                <c:pt idx="841">
                  <c:v>44916</c:v>
                </c:pt>
                <c:pt idx="842">
                  <c:v>44917</c:v>
                </c:pt>
                <c:pt idx="843">
                  <c:v>44918</c:v>
                </c:pt>
                <c:pt idx="844">
                  <c:v>44919</c:v>
                </c:pt>
                <c:pt idx="845">
                  <c:v>44920</c:v>
                </c:pt>
                <c:pt idx="846">
                  <c:v>44921</c:v>
                </c:pt>
                <c:pt idx="847">
                  <c:v>44922</c:v>
                </c:pt>
                <c:pt idx="848">
                  <c:v>44923</c:v>
                </c:pt>
                <c:pt idx="849">
                  <c:v>44924</c:v>
                </c:pt>
                <c:pt idx="850">
                  <c:v>44925</c:v>
                </c:pt>
                <c:pt idx="851">
                  <c:v>44926</c:v>
                </c:pt>
                <c:pt idx="852">
                  <c:v>44927</c:v>
                </c:pt>
                <c:pt idx="853">
                  <c:v>44928</c:v>
                </c:pt>
                <c:pt idx="854">
                  <c:v>44929</c:v>
                </c:pt>
                <c:pt idx="855">
                  <c:v>44930</c:v>
                </c:pt>
                <c:pt idx="856">
                  <c:v>44931</c:v>
                </c:pt>
                <c:pt idx="857">
                  <c:v>44932</c:v>
                </c:pt>
                <c:pt idx="858">
                  <c:v>44933</c:v>
                </c:pt>
                <c:pt idx="859">
                  <c:v>44934</c:v>
                </c:pt>
                <c:pt idx="860">
                  <c:v>44935</c:v>
                </c:pt>
                <c:pt idx="861">
                  <c:v>44936</c:v>
                </c:pt>
                <c:pt idx="862">
                  <c:v>44937</c:v>
                </c:pt>
                <c:pt idx="863">
                  <c:v>44938</c:v>
                </c:pt>
                <c:pt idx="864">
                  <c:v>44939</c:v>
                </c:pt>
                <c:pt idx="865">
                  <c:v>44940</c:v>
                </c:pt>
                <c:pt idx="866">
                  <c:v>44941</c:v>
                </c:pt>
                <c:pt idx="867">
                  <c:v>44942</c:v>
                </c:pt>
                <c:pt idx="868">
                  <c:v>44943</c:v>
                </c:pt>
                <c:pt idx="869">
                  <c:v>44944</c:v>
                </c:pt>
                <c:pt idx="870">
                  <c:v>44945</c:v>
                </c:pt>
                <c:pt idx="871">
                  <c:v>44946</c:v>
                </c:pt>
                <c:pt idx="872">
                  <c:v>44947</c:v>
                </c:pt>
                <c:pt idx="873">
                  <c:v>44948</c:v>
                </c:pt>
                <c:pt idx="874">
                  <c:v>44949</c:v>
                </c:pt>
                <c:pt idx="875">
                  <c:v>44950</c:v>
                </c:pt>
                <c:pt idx="876">
                  <c:v>44951</c:v>
                </c:pt>
                <c:pt idx="877">
                  <c:v>44952</c:v>
                </c:pt>
                <c:pt idx="878">
                  <c:v>44953</c:v>
                </c:pt>
                <c:pt idx="879">
                  <c:v>44954</c:v>
                </c:pt>
                <c:pt idx="880">
                  <c:v>44955</c:v>
                </c:pt>
                <c:pt idx="881">
                  <c:v>44956</c:v>
                </c:pt>
                <c:pt idx="882">
                  <c:v>44957</c:v>
                </c:pt>
                <c:pt idx="883">
                  <c:v>44958</c:v>
                </c:pt>
                <c:pt idx="884">
                  <c:v>44959</c:v>
                </c:pt>
                <c:pt idx="885">
                  <c:v>44960</c:v>
                </c:pt>
                <c:pt idx="886">
                  <c:v>44961</c:v>
                </c:pt>
                <c:pt idx="887">
                  <c:v>44962</c:v>
                </c:pt>
                <c:pt idx="888">
                  <c:v>44963</c:v>
                </c:pt>
                <c:pt idx="889">
                  <c:v>44964</c:v>
                </c:pt>
                <c:pt idx="890">
                  <c:v>44965</c:v>
                </c:pt>
                <c:pt idx="891">
                  <c:v>44966</c:v>
                </c:pt>
                <c:pt idx="892">
                  <c:v>44967</c:v>
                </c:pt>
                <c:pt idx="893">
                  <c:v>44968</c:v>
                </c:pt>
                <c:pt idx="894">
                  <c:v>44969</c:v>
                </c:pt>
                <c:pt idx="895">
                  <c:v>44970</c:v>
                </c:pt>
                <c:pt idx="896">
                  <c:v>44971</c:v>
                </c:pt>
                <c:pt idx="897">
                  <c:v>44972</c:v>
                </c:pt>
                <c:pt idx="898">
                  <c:v>44973</c:v>
                </c:pt>
                <c:pt idx="899">
                  <c:v>44974</c:v>
                </c:pt>
                <c:pt idx="900">
                  <c:v>44975</c:v>
                </c:pt>
                <c:pt idx="901">
                  <c:v>44976</c:v>
                </c:pt>
                <c:pt idx="902">
                  <c:v>44977</c:v>
                </c:pt>
                <c:pt idx="903">
                  <c:v>44978</c:v>
                </c:pt>
                <c:pt idx="904">
                  <c:v>44979</c:v>
                </c:pt>
                <c:pt idx="905">
                  <c:v>44980</c:v>
                </c:pt>
                <c:pt idx="906">
                  <c:v>44981</c:v>
                </c:pt>
                <c:pt idx="907">
                  <c:v>44982</c:v>
                </c:pt>
                <c:pt idx="908">
                  <c:v>44983</c:v>
                </c:pt>
              </c:numCache>
            </c:numRef>
          </c:cat>
          <c:val>
            <c:numRef>
              <c:f>Sheet1!$B$2:$B$910</c:f>
              <c:numCache>
                <c:formatCode>General</c:formatCode>
                <c:ptCount val="909"/>
                <c:pt idx="0">
                  <c:v>5.1071591426999997E-2</c:v>
                </c:pt>
                <c:pt idx="1">
                  <c:v>8.3583369052000006E-2</c:v>
                </c:pt>
                <c:pt idx="2">
                  <c:v>8.1309398098999994E-2</c:v>
                </c:pt>
                <c:pt idx="3">
                  <c:v>9.4676960584999997E-2</c:v>
                </c:pt>
                <c:pt idx="4">
                  <c:v>8.4671532846E-2</c:v>
                </c:pt>
                <c:pt idx="5">
                  <c:v>0.150490730643</c:v>
                </c:pt>
                <c:pt idx="6">
                  <c:v>7.3379753615000001E-2</c:v>
                </c:pt>
                <c:pt idx="7">
                  <c:v>0.101063829787</c:v>
                </c:pt>
                <c:pt idx="8">
                  <c:v>0.10488298179699999</c:v>
                </c:pt>
                <c:pt idx="9">
                  <c:v>0.122113022113</c:v>
                </c:pt>
                <c:pt idx="10">
                  <c:v>9.5337376799999998E-2</c:v>
                </c:pt>
                <c:pt idx="11">
                  <c:v>0.16515781747</c:v>
                </c:pt>
                <c:pt idx="12">
                  <c:v>0.183333333333</c:v>
                </c:pt>
                <c:pt idx="13">
                  <c:v>8.4365781710000004E-2</c:v>
                </c:pt>
                <c:pt idx="14">
                  <c:v>0.105865522174</c:v>
                </c:pt>
                <c:pt idx="15">
                  <c:v>0.133192760499</c:v>
                </c:pt>
                <c:pt idx="16">
                  <c:v>0.186785818927</c:v>
                </c:pt>
                <c:pt idx="17">
                  <c:v>0.151699029126</c:v>
                </c:pt>
                <c:pt idx="18">
                  <c:v>0.159154275092</c:v>
                </c:pt>
                <c:pt idx="19">
                  <c:v>0.124440829605</c:v>
                </c:pt>
                <c:pt idx="20">
                  <c:v>0.10060189165900001</c:v>
                </c:pt>
                <c:pt idx="21">
                  <c:v>0.15098609763900001</c:v>
                </c:pt>
                <c:pt idx="22">
                  <c:v>0.14149167269999999</c:v>
                </c:pt>
                <c:pt idx="23">
                  <c:v>0.16264570344199999</c:v>
                </c:pt>
                <c:pt idx="24">
                  <c:v>0.18437201690900001</c:v>
                </c:pt>
                <c:pt idx="25">
                  <c:v>0.17170111287699999</c:v>
                </c:pt>
                <c:pt idx="26">
                  <c:v>0.15964155326900001</c:v>
                </c:pt>
                <c:pt idx="27">
                  <c:v>0.16941694169400001</c:v>
                </c:pt>
                <c:pt idx="28">
                  <c:v>0.152170030362</c:v>
                </c:pt>
                <c:pt idx="29">
                  <c:v>0.18160284247899999</c:v>
                </c:pt>
                <c:pt idx="30">
                  <c:v>0.21723122238500001</c:v>
                </c:pt>
                <c:pt idx="31">
                  <c:v>0.215747848336</c:v>
                </c:pt>
                <c:pt idx="32">
                  <c:v>0.22967947582699999</c:v>
                </c:pt>
                <c:pt idx="33">
                  <c:v>0.266142248443</c:v>
                </c:pt>
                <c:pt idx="34">
                  <c:v>0.245682001614</c:v>
                </c:pt>
                <c:pt idx="35">
                  <c:v>0.24399078037499999</c:v>
                </c:pt>
                <c:pt idx="36">
                  <c:v>0.28373278939300001</c:v>
                </c:pt>
                <c:pt idx="37">
                  <c:v>0.29343434343399999</c:v>
                </c:pt>
                <c:pt idx="38">
                  <c:v>0.41226406574500002</c:v>
                </c:pt>
                <c:pt idx="39">
                  <c:v>0.33864541832599998</c:v>
                </c:pt>
                <c:pt idx="40">
                  <c:v>0.34381270903</c:v>
                </c:pt>
                <c:pt idx="41">
                  <c:v>0.26860254083399998</c:v>
                </c:pt>
                <c:pt idx="42">
                  <c:v>0.33440464058899999</c:v>
                </c:pt>
                <c:pt idx="43">
                  <c:v>0.35369623655900001</c:v>
                </c:pt>
                <c:pt idx="44">
                  <c:v>0.36194782608600001</c:v>
                </c:pt>
                <c:pt idx="45">
                  <c:v>0.36723434876400002</c:v>
                </c:pt>
                <c:pt idx="46">
                  <c:v>0.37709602225700001</c:v>
                </c:pt>
                <c:pt idx="47">
                  <c:v>0.38362892223700001</c:v>
                </c:pt>
                <c:pt idx="48">
                  <c:v>0.35654163602099997</c:v>
                </c:pt>
                <c:pt idx="49">
                  <c:v>0.37075774908699999</c:v>
                </c:pt>
                <c:pt idx="50">
                  <c:v>0.41352671451299999</c:v>
                </c:pt>
                <c:pt idx="51">
                  <c:v>0.39496531988099998</c:v>
                </c:pt>
                <c:pt idx="52">
                  <c:v>0.41612965278399999</c:v>
                </c:pt>
                <c:pt idx="53">
                  <c:v>0.391389953171</c:v>
                </c:pt>
                <c:pt idx="54">
                  <c:v>0.42563143124399999</c:v>
                </c:pt>
                <c:pt idx="55">
                  <c:v>0.37046714677199999</c:v>
                </c:pt>
                <c:pt idx="56">
                  <c:v>0.38717706634600002</c:v>
                </c:pt>
                <c:pt idx="57">
                  <c:v>0.40521014607299999</c:v>
                </c:pt>
                <c:pt idx="58">
                  <c:v>0.38407613979400002</c:v>
                </c:pt>
                <c:pt idx="59">
                  <c:v>0.35252560932499999</c:v>
                </c:pt>
                <c:pt idx="60">
                  <c:v>0.38902078869599999</c:v>
                </c:pt>
                <c:pt idx="61">
                  <c:v>0.39245901639300002</c:v>
                </c:pt>
                <c:pt idx="62">
                  <c:v>0.381364596823</c:v>
                </c:pt>
                <c:pt idx="63">
                  <c:v>0.34885386819399999</c:v>
                </c:pt>
                <c:pt idx="64">
                  <c:v>0.42376889548300001</c:v>
                </c:pt>
                <c:pt idx="65">
                  <c:v>0.38667242786400002</c:v>
                </c:pt>
                <c:pt idx="66">
                  <c:v>0.34660728320599998</c:v>
                </c:pt>
                <c:pt idx="67">
                  <c:v>0.36445286750099998</c:v>
                </c:pt>
                <c:pt idx="68">
                  <c:v>0.330858228285</c:v>
                </c:pt>
                <c:pt idx="69">
                  <c:v>0.25758998435000002</c:v>
                </c:pt>
                <c:pt idx="70">
                  <c:v>0.30800966582099998</c:v>
                </c:pt>
                <c:pt idx="71">
                  <c:v>0.334702660406</c:v>
                </c:pt>
                <c:pt idx="72">
                  <c:v>0.321672668479</c:v>
                </c:pt>
                <c:pt idx="73">
                  <c:v>0.29021380398899999</c:v>
                </c:pt>
                <c:pt idx="74">
                  <c:v>0.32129357412800003</c:v>
                </c:pt>
                <c:pt idx="75">
                  <c:v>0.28108108108099999</c:v>
                </c:pt>
                <c:pt idx="76">
                  <c:v>0.25424197713000002</c:v>
                </c:pt>
                <c:pt idx="77">
                  <c:v>0.30551743068800002</c:v>
                </c:pt>
                <c:pt idx="78">
                  <c:v>0.272474513438</c:v>
                </c:pt>
                <c:pt idx="79">
                  <c:v>0.29951650550100001</c:v>
                </c:pt>
                <c:pt idx="80">
                  <c:v>0.27516191143000002</c:v>
                </c:pt>
                <c:pt idx="81">
                  <c:v>0.27344521224000001</c:v>
                </c:pt>
                <c:pt idx="82">
                  <c:v>0.26833333333300002</c:v>
                </c:pt>
                <c:pt idx="83">
                  <c:v>0.22655694402099999</c:v>
                </c:pt>
                <c:pt idx="84">
                  <c:v>0.28715571311600002</c:v>
                </c:pt>
                <c:pt idx="85">
                  <c:v>0.26816115047</c:v>
                </c:pt>
                <c:pt idx="86">
                  <c:v>0.26623936891400002</c:v>
                </c:pt>
                <c:pt idx="87">
                  <c:v>0.24703951225199999</c:v>
                </c:pt>
                <c:pt idx="88">
                  <c:v>0.26292532037100003</c:v>
                </c:pt>
                <c:pt idx="89">
                  <c:v>0.21676989042399999</c:v>
                </c:pt>
                <c:pt idx="90">
                  <c:v>0.19763092269300001</c:v>
                </c:pt>
                <c:pt idx="91">
                  <c:v>0.29253831524700002</c:v>
                </c:pt>
                <c:pt idx="92">
                  <c:v>0.250267838011</c:v>
                </c:pt>
                <c:pt idx="93">
                  <c:v>0.28008595988500001</c:v>
                </c:pt>
                <c:pt idx="94">
                  <c:v>0.26938419346699999</c:v>
                </c:pt>
                <c:pt idx="95">
                  <c:v>0.31300126635699999</c:v>
                </c:pt>
                <c:pt idx="96">
                  <c:v>0.19708029196999999</c:v>
                </c:pt>
                <c:pt idx="97">
                  <c:v>0.213021629888</c:v>
                </c:pt>
                <c:pt idx="98">
                  <c:v>0.28222862632000001</c:v>
                </c:pt>
                <c:pt idx="99">
                  <c:v>0.31979067554700003</c:v>
                </c:pt>
                <c:pt idx="100">
                  <c:v>0.28703054581800003</c:v>
                </c:pt>
                <c:pt idx="101">
                  <c:v>0.27765196122800001</c:v>
                </c:pt>
                <c:pt idx="102">
                  <c:v>0.31115957833500002</c:v>
                </c:pt>
                <c:pt idx="103">
                  <c:v>0.30589045814600002</c:v>
                </c:pt>
                <c:pt idx="104">
                  <c:v>0.23451460696699999</c:v>
                </c:pt>
                <c:pt idx="105">
                  <c:v>0.31583198707499999</c:v>
                </c:pt>
                <c:pt idx="106">
                  <c:v>0.31679649096200002</c:v>
                </c:pt>
                <c:pt idx="107">
                  <c:v>0.29788538154999999</c:v>
                </c:pt>
                <c:pt idx="108">
                  <c:v>0.32076036521399998</c:v>
                </c:pt>
                <c:pt idx="109">
                  <c:v>0.29369414101199998</c:v>
                </c:pt>
                <c:pt idx="110">
                  <c:v>0.36843508397699998</c:v>
                </c:pt>
                <c:pt idx="111">
                  <c:v>0.28192872117399997</c:v>
                </c:pt>
                <c:pt idx="112">
                  <c:v>0.33368721385400002</c:v>
                </c:pt>
                <c:pt idx="113">
                  <c:v>0.39927645462700001</c:v>
                </c:pt>
                <c:pt idx="114">
                  <c:v>0.44741784037499999</c:v>
                </c:pt>
                <c:pt idx="115">
                  <c:v>0.36424613589900001</c:v>
                </c:pt>
                <c:pt idx="116">
                  <c:v>0.36683558558500001</c:v>
                </c:pt>
                <c:pt idx="117">
                  <c:v>0.34735051045199999</c:v>
                </c:pt>
                <c:pt idx="118">
                  <c:v>0.39872490738299998</c:v>
                </c:pt>
                <c:pt idx="119">
                  <c:v>0.50044866042799996</c:v>
                </c:pt>
                <c:pt idx="120">
                  <c:v>0.503444458112</c:v>
                </c:pt>
                <c:pt idx="121">
                  <c:v>0.50967311541000004</c:v>
                </c:pt>
                <c:pt idx="122">
                  <c:v>0.47361769352200001</c:v>
                </c:pt>
                <c:pt idx="123">
                  <c:v>0.36278735632100001</c:v>
                </c:pt>
                <c:pt idx="124">
                  <c:v>0.40930979133200002</c:v>
                </c:pt>
                <c:pt idx="125">
                  <c:v>0.34870883827100002</c:v>
                </c:pt>
                <c:pt idx="126">
                  <c:v>0.41278950604600001</c:v>
                </c:pt>
                <c:pt idx="127">
                  <c:v>0.47541611914100002</c:v>
                </c:pt>
                <c:pt idx="128">
                  <c:v>0.407394549557</c:v>
                </c:pt>
                <c:pt idx="129">
                  <c:v>0.36263865250299998</c:v>
                </c:pt>
                <c:pt idx="130">
                  <c:v>0.45342298288499999</c:v>
                </c:pt>
                <c:pt idx="131">
                  <c:v>0.35632452653699997</c:v>
                </c:pt>
                <c:pt idx="132">
                  <c:v>0.27264298958700001</c:v>
                </c:pt>
                <c:pt idx="133">
                  <c:v>0.30984385607600001</c:v>
                </c:pt>
                <c:pt idx="134">
                  <c:v>0.347331012474</c:v>
                </c:pt>
                <c:pt idx="135">
                  <c:v>0.28264640290699999</c:v>
                </c:pt>
                <c:pt idx="136">
                  <c:v>0.31816722837400002</c:v>
                </c:pt>
                <c:pt idx="137">
                  <c:v>0.322634292366</c:v>
                </c:pt>
                <c:pt idx="138">
                  <c:v>0.30645161290299999</c:v>
                </c:pt>
                <c:pt idx="139">
                  <c:v>0.26993422830800001</c:v>
                </c:pt>
                <c:pt idx="140">
                  <c:v>0.34257051229300001</c:v>
                </c:pt>
                <c:pt idx="141">
                  <c:v>0.30957761167999998</c:v>
                </c:pt>
                <c:pt idx="142">
                  <c:v>0.33155025203100003</c:v>
                </c:pt>
                <c:pt idx="143">
                  <c:v>0.29276233408399999</c:v>
                </c:pt>
                <c:pt idx="144">
                  <c:v>0.30585937499999999</c:v>
                </c:pt>
                <c:pt idx="145">
                  <c:v>0.27286081527700001</c:v>
                </c:pt>
                <c:pt idx="146">
                  <c:v>0.23066117250400001</c:v>
                </c:pt>
                <c:pt idx="147">
                  <c:v>0.316880053908</c:v>
                </c:pt>
                <c:pt idx="148">
                  <c:v>0.303151243036</c:v>
                </c:pt>
                <c:pt idx="149">
                  <c:v>0.31887994006300002</c:v>
                </c:pt>
                <c:pt idx="150">
                  <c:v>0.27425310506799999</c:v>
                </c:pt>
                <c:pt idx="151">
                  <c:v>0.29660512209599998</c:v>
                </c:pt>
                <c:pt idx="152">
                  <c:v>0.30640124902400001</c:v>
                </c:pt>
                <c:pt idx="153">
                  <c:v>0.25284629981000001</c:v>
                </c:pt>
                <c:pt idx="154">
                  <c:v>0.30909686399699998</c:v>
                </c:pt>
                <c:pt idx="155">
                  <c:v>0.317800032304</c:v>
                </c:pt>
                <c:pt idx="156">
                  <c:v>0.29671683830599999</c:v>
                </c:pt>
                <c:pt idx="157">
                  <c:v>0.29246726747099999</c:v>
                </c:pt>
                <c:pt idx="158">
                  <c:v>0.32843611057400002</c:v>
                </c:pt>
                <c:pt idx="159">
                  <c:v>0.26944012441600002</c:v>
                </c:pt>
                <c:pt idx="160">
                  <c:v>0.27802174822199999</c:v>
                </c:pt>
                <c:pt idx="161">
                  <c:v>0.34797100241599999</c:v>
                </c:pt>
                <c:pt idx="162">
                  <c:v>0.33266297972100001</c:v>
                </c:pt>
                <c:pt idx="163">
                  <c:v>0.32528124182399998</c:v>
                </c:pt>
                <c:pt idx="164">
                  <c:v>0.30051118746299998</c:v>
                </c:pt>
                <c:pt idx="165">
                  <c:v>0.31093007467700001</c:v>
                </c:pt>
                <c:pt idx="166">
                  <c:v>0.29751434034399998</c:v>
                </c:pt>
                <c:pt idx="167">
                  <c:v>0.28001464128800002</c:v>
                </c:pt>
                <c:pt idx="168">
                  <c:v>0.378549584971</c:v>
                </c:pt>
                <c:pt idx="169">
                  <c:v>0.35112207912299997</c:v>
                </c:pt>
                <c:pt idx="170">
                  <c:v>0.35437106457700002</c:v>
                </c:pt>
                <c:pt idx="171">
                  <c:v>0.32186648501300003</c:v>
                </c:pt>
                <c:pt idx="172">
                  <c:v>0.38404540438200002</c:v>
                </c:pt>
                <c:pt idx="173">
                  <c:v>0.39273927392699998</c:v>
                </c:pt>
                <c:pt idx="174">
                  <c:v>0.312634326066</c:v>
                </c:pt>
                <c:pt idx="175">
                  <c:v>0.40237785621400002</c:v>
                </c:pt>
                <c:pt idx="176">
                  <c:v>0.37396923076900002</c:v>
                </c:pt>
                <c:pt idx="177">
                  <c:v>0.38904971680299999</c:v>
                </c:pt>
                <c:pt idx="178">
                  <c:v>0.37375840123699999</c:v>
                </c:pt>
                <c:pt idx="179">
                  <c:v>0.37092640058499998</c:v>
                </c:pt>
                <c:pt idx="180">
                  <c:v>0.37257980115099998</c:v>
                </c:pt>
                <c:pt idx="181">
                  <c:v>0.325473358203</c:v>
                </c:pt>
                <c:pt idx="182">
                  <c:v>0.389775463351</c:v>
                </c:pt>
                <c:pt idx="183">
                  <c:v>0.39252999231699998</c:v>
                </c:pt>
                <c:pt idx="184">
                  <c:v>0.39106044154899999</c:v>
                </c:pt>
                <c:pt idx="185">
                  <c:v>0.32525951556999999</c:v>
                </c:pt>
                <c:pt idx="186">
                  <c:v>0.45492607614800001</c:v>
                </c:pt>
                <c:pt idx="187">
                  <c:v>0.35332294911700002</c:v>
                </c:pt>
                <c:pt idx="188">
                  <c:v>0.30322773908400003</c:v>
                </c:pt>
                <c:pt idx="189">
                  <c:v>0.38818698673399998</c:v>
                </c:pt>
                <c:pt idx="190">
                  <c:v>0.37552795031000002</c:v>
                </c:pt>
                <c:pt idx="191">
                  <c:v>0.32864699331800001</c:v>
                </c:pt>
                <c:pt idx="192">
                  <c:v>0.393832599118</c:v>
                </c:pt>
                <c:pt idx="193">
                  <c:v>0.373809872564</c:v>
                </c:pt>
                <c:pt idx="194">
                  <c:v>0.328093645484</c:v>
                </c:pt>
                <c:pt idx="195">
                  <c:v>0.28214258655899999</c:v>
                </c:pt>
                <c:pt idx="196">
                  <c:v>0.377774815012</c:v>
                </c:pt>
                <c:pt idx="197">
                  <c:v>0.357137735713</c:v>
                </c:pt>
                <c:pt idx="198">
                  <c:v>0.339078156312</c:v>
                </c:pt>
                <c:pt idx="199">
                  <c:v>0.29893153937400002</c:v>
                </c:pt>
                <c:pt idx="200">
                  <c:v>0.29677321617899999</c:v>
                </c:pt>
                <c:pt idx="201">
                  <c:v>0.25254502740700002</c:v>
                </c:pt>
                <c:pt idx="202">
                  <c:v>0.23622881355899999</c:v>
                </c:pt>
                <c:pt idx="203">
                  <c:v>0.31471528181199998</c:v>
                </c:pt>
                <c:pt idx="204">
                  <c:v>0.30870937473299997</c:v>
                </c:pt>
                <c:pt idx="205">
                  <c:v>0.26316240047900002</c:v>
                </c:pt>
                <c:pt idx="206">
                  <c:v>0.267733721353</c:v>
                </c:pt>
                <c:pt idx="207">
                  <c:v>0.29822251481200002</c:v>
                </c:pt>
                <c:pt idx="208">
                  <c:v>0.12399540757700001</c:v>
                </c:pt>
                <c:pt idx="209">
                  <c:v>0.20868055555500001</c:v>
                </c:pt>
                <c:pt idx="210">
                  <c:v>0.27574071042699999</c:v>
                </c:pt>
                <c:pt idx="211">
                  <c:v>0.26304820587099997</c:v>
                </c:pt>
                <c:pt idx="212">
                  <c:v>0.24128084846</c:v>
                </c:pt>
                <c:pt idx="213">
                  <c:v>0.26506506506499999</c:v>
                </c:pt>
                <c:pt idx="214">
                  <c:v>0.22812393598899999</c:v>
                </c:pt>
                <c:pt idx="215">
                  <c:v>0.19613016710600001</c:v>
                </c:pt>
                <c:pt idx="216">
                  <c:v>0.100365476525</c:v>
                </c:pt>
                <c:pt idx="217">
                  <c:v>0.18336967858100001</c:v>
                </c:pt>
                <c:pt idx="218">
                  <c:v>0.25469728601199998</c:v>
                </c:pt>
                <c:pt idx="219">
                  <c:v>0.247321329945</c:v>
                </c:pt>
                <c:pt idx="220">
                  <c:v>0.20963233713099999</c:v>
                </c:pt>
                <c:pt idx="221">
                  <c:v>0.1856975381</c:v>
                </c:pt>
                <c:pt idx="222">
                  <c:v>0.13398533007300001</c:v>
                </c:pt>
                <c:pt idx="223">
                  <c:v>0.12242562929</c:v>
                </c:pt>
                <c:pt idx="224">
                  <c:v>0.19337449769599999</c:v>
                </c:pt>
                <c:pt idx="225">
                  <c:v>0.15144334338599999</c:v>
                </c:pt>
                <c:pt idx="226">
                  <c:v>0.164912280701</c:v>
                </c:pt>
                <c:pt idx="227">
                  <c:v>0.14960123488499999</c:v>
                </c:pt>
                <c:pt idx="228">
                  <c:v>0.140396210163</c:v>
                </c:pt>
                <c:pt idx="229">
                  <c:v>0.104960835509</c:v>
                </c:pt>
                <c:pt idx="230">
                  <c:v>0.11870066788</c:v>
                </c:pt>
                <c:pt idx="231">
                  <c:v>0.15997848305500001</c:v>
                </c:pt>
                <c:pt idx="232">
                  <c:v>0.13590790939399999</c:v>
                </c:pt>
                <c:pt idx="233">
                  <c:v>0.14367487120700001</c:v>
                </c:pt>
                <c:pt idx="234">
                  <c:v>0.123397214945</c:v>
                </c:pt>
                <c:pt idx="235">
                  <c:v>0.124213315667</c:v>
                </c:pt>
                <c:pt idx="236">
                  <c:v>0.13324538258499999</c:v>
                </c:pt>
                <c:pt idx="237">
                  <c:v>9.6592752838999998E-2</c:v>
                </c:pt>
                <c:pt idx="238">
                  <c:v>0.15537004734599999</c:v>
                </c:pt>
                <c:pt idx="239">
                  <c:v>0.110314523589</c:v>
                </c:pt>
                <c:pt idx="240">
                  <c:v>0.110369260117</c:v>
                </c:pt>
                <c:pt idx="241">
                  <c:v>0.100749264115</c:v>
                </c:pt>
                <c:pt idx="242">
                  <c:v>0.118067978533</c:v>
                </c:pt>
                <c:pt idx="243">
                  <c:v>8.6826347304999996E-2</c:v>
                </c:pt>
                <c:pt idx="244">
                  <c:v>7.6564156945000003E-2</c:v>
                </c:pt>
                <c:pt idx="245">
                  <c:v>0.110528287748</c:v>
                </c:pt>
                <c:pt idx="246">
                  <c:v>8.7028542303E-2</c:v>
                </c:pt>
                <c:pt idx="247">
                  <c:v>8.2438316400000003E-2</c:v>
                </c:pt>
                <c:pt idx="248">
                  <c:v>7.7907307364000006E-2</c:v>
                </c:pt>
                <c:pt idx="249">
                  <c:v>6.6476462195999994E-2</c:v>
                </c:pt>
                <c:pt idx="250">
                  <c:v>6.3905325442999997E-2</c:v>
                </c:pt>
                <c:pt idx="251">
                  <c:v>5.2092050208999999E-2</c:v>
                </c:pt>
                <c:pt idx="252">
                  <c:v>9.0909090908999998E-2</c:v>
                </c:pt>
                <c:pt idx="253">
                  <c:v>6.0728162325000001E-2</c:v>
                </c:pt>
                <c:pt idx="254">
                  <c:v>6.6731141199000005E-2</c:v>
                </c:pt>
                <c:pt idx="255">
                  <c:v>5.2917232021000002E-2</c:v>
                </c:pt>
                <c:pt idx="256">
                  <c:v>6.0563380281000001E-2</c:v>
                </c:pt>
                <c:pt idx="257">
                  <c:v>3.5337879726999998E-2</c:v>
                </c:pt>
                <c:pt idx="258">
                  <c:v>3.4794851166E-2</c:v>
                </c:pt>
                <c:pt idx="259">
                  <c:v>5.7523859327999999E-2</c:v>
                </c:pt>
                <c:pt idx="260">
                  <c:v>3.4752747251999998E-2</c:v>
                </c:pt>
                <c:pt idx="261">
                  <c:v>3.8844458951999998E-2</c:v>
                </c:pt>
                <c:pt idx="262">
                  <c:v>3.2090948336999998E-2</c:v>
                </c:pt>
                <c:pt idx="263">
                  <c:v>3.1455236778000002E-2</c:v>
                </c:pt>
                <c:pt idx="264">
                  <c:v>2.9207232267000002E-2</c:v>
                </c:pt>
                <c:pt idx="265">
                  <c:v>2.3574693288E-2</c:v>
                </c:pt>
                <c:pt idx="266">
                  <c:v>2.7361220730999999E-2</c:v>
                </c:pt>
                <c:pt idx="267">
                  <c:v>3.5634360475000001E-2</c:v>
                </c:pt>
                <c:pt idx="268">
                  <c:v>2.7905393907999999E-2</c:v>
                </c:pt>
                <c:pt idx="269">
                  <c:v>2.2441651704999999E-2</c:v>
                </c:pt>
                <c:pt idx="270">
                  <c:v>2.5057825751000001E-2</c:v>
                </c:pt>
                <c:pt idx="271">
                  <c:v>1.1815920398E-2</c:v>
                </c:pt>
                <c:pt idx="272">
                  <c:v>1.861210403E-2</c:v>
                </c:pt>
                <c:pt idx="273">
                  <c:v>2.1769553723999999E-2</c:v>
                </c:pt>
                <c:pt idx="274">
                  <c:v>1.874772479E-2</c:v>
                </c:pt>
                <c:pt idx="275">
                  <c:v>2.5459450344999999E-2</c:v>
                </c:pt>
                <c:pt idx="276">
                  <c:v>1.5638279788999999E-2</c:v>
                </c:pt>
                <c:pt idx="277">
                  <c:v>1.7484008528E-2</c:v>
                </c:pt>
                <c:pt idx="278">
                  <c:v>1.1196641007E-2</c:v>
                </c:pt>
                <c:pt idx="279">
                  <c:v>9.9502487560000005E-3</c:v>
                </c:pt>
                <c:pt idx="280">
                  <c:v>1.8821198612999999E-2</c:v>
                </c:pt>
                <c:pt idx="281">
                  <c:v>1.1548655812E-2</c:v>
                </c:pt>
                <c:pt idx="282">
                  <c:v>1.1448701012E-2</c:v>
                </c:pt>
                <c:pt idx="283">
                  <c:v>9.2236740960000008E-3</c:v>
                </c:pt>
                <c:pt idx="284">
                  <c:v>9.2064883819999999E-3</c:v>
                </c:pt>
                <c:pt idx="285">
                  <c:v>7.0771408349999997E-3</c:v>
                </c:pt>
                <c:pt idx="286">
                  <c:v>9.7069926290000007E-3</c:v>
                </c:pt>
                <c:pt idx="287">
                  <c:v>8.9702188730000007E-3</c:v>
                </c:pt>
                <c:pt idx="288">
                  <c:v>1.0977522216000001E-2</c:v>
                </c:pt>
                <c:pt idx="289">
                  <c:v>8.3132793690000005E-3</c:v>
                </c:pt>
                <c:pt idx="290">
                  <c:v>9.3346098609999994E-3</c:v>
                </c:pt>
                <c:pt idx="291">
                  <c:v>1.0329562222999999E-2</c:v>
                </c:pt>
                <c:pt idx="292">
                  <c:v>6.4516129030000001E-3</c:v>
                </c:pt>
                <c:pt idx="293">
                  <c:v>8.1795700970000006E-3</c:v>
                </c:pt>
                <c:pt idx="294">
                  <c:v>8.1172491540000002E-3</c:v>
                </c:pt>
                <c:pt idx="295">
                  <c:v>8.4674005079999996E-3</c:v>
                </c:pt>
                <c:pt idx="296">
                  <c:v>4.1163556529999999E-3</c:v>
                </c:pt>
                <c:pt idx="297">
                  <c:v>9.9255583119999997E-3</c:v>
                </c:pt>
                <c:pt idx="298">
                  <c:v>6.0301507529999998E-3</c:v>
                </c:pt>
                <c:pt idx="299">
                  <c:v>8.2949308750000002E-3</c:v>
                </c:pt>
                <c:pt idx="300">
                  <c:v>5.9275521400000003E-3</c:v>
                </c:pt>
                <c:pt idx="301">
                  <c:v>8.6430423499999996E-3</c:v>
                </c:pt>
                <c:pt idx="302">
                  <c:v>6.2398890679999999E-3</c:v>
                </c:pt>
                <c:pt idx="303">
                  <c:v>1.1174571641000001E-2</c:v>
                </c:pt>
                <c:pt idx="304">
                  <c:v>8.4745762709999995E-3</c:v>
                </c:pt>
                <c:pt idx="305">
                  <c:v>8.6442220199999999E-3</c:v>
                </c:pt>
                <c:pt idx="306">
                  <c:v>1.2057272042E-2</c:v>
                </c:pt>
                <c:pt idx="307">
                  <c:v>2.6600985221E-2</c:v>
                </c:pt>
                <c:pt idx="308">
                  <c:v>1.5801354401000001E-2</c:v>
                </c:pt>
                <c:pt idx="309">
                  <c:v>1.7500875042999998E-2</c:v>
                </c:pt>
                <c:pt idx="310">
                  <c:v>1.1075949367E-2</c:v>
                </c:pt>
                <c:pt idx="311">
                  <c:v>1.7627308336999999E-2</c:v>
                </c:pt>
                <c:pt idx="312">
                  <c:v>1.6309012875000001E-2</c:v>
                </c:pt>
                <c:pt idx="313">
                  <c:v>2.2165387894000001E-2</c:v>
                </c:pt>
                <c:pt idx="314">
                  <c:v>1.7801857585000001E-2</c:v>
                </c:pt>
                <c:pt idx="315">
                  <c:v>2.055406613E-2</c:v>
                </c:pt>
                <c:pt idx="316">
                  <c:v>1.4920424403E-2</c:v>
                </c:pt>
                <c:pt idx="317">
                  <c:v>1.3974737972999999E-2</c:v>
                </c:pt>
                <c:pt idx="318">
                  <c:v>1.332108406E-2</c:v>
                </c:pt>
                <c:pt idx="319">
                  <c:v>1.5647226173E-2</c:v>
                </c:pt>
                <c:pt idx="320">
                  <c:v>1.6116653875000001E-2</c:v>
                </c:pt>
                <c:pt idx="321">
                  <c:v>1.5398282499E-2</c:v>
                </c:pt>
                <c:pt idx="322">
                  <c:v>1.9437799043000002E-2</c:v>
                </c:pt>
                <c:pt idx="323">
                  <c:v>1.6149068321999999E-2</c:v>
                </c:pt>
                <c:pt idx="324">
                  <c:v>1.4077550011999999E-2</c:v>
                </c:pt>
                <c:pt idx="325">
                  <c:v>1.1788826242E-2</c:v>
                </c:pt>
                <c:pt idx="326">
                  <c:v>1.0292301358E-2</c:v>
                </c:pt>
                <c:pt idx="327">
                  <c:v>9.5870206480000008E-3</c:v>
                </c:pt>
                <c:pt idx="328">
                  <c:v>1.6423923148000001E-2</c:v>
                </c:pt>
                <c:pt idx="329">
                  <c:v>1.6423357664E-2</c:v>
                </c:pt>
                <c:pt idx="330">
                  <c:v>1.5647226173E-2</c:v>
                </c:pt>
                <c:pt idx="331">
                  <c:v>1.7626691847000001E-2</c:v>
                </c:pt>
                <c:pt idx="332">
                  <c:v>1.1131725417000001E-2</c:v>
                </c:pt>
                <c:pt idx="333">
                  <c:v>1.1095700416E-2</c:v>
                </c:pt>
                <c:pt idx="334">
                  <c:v>1.1850501366999999E-2</c:v>
                </c:pt>
                <c:pt idx="335">
                  <c:v>7.5757575749999997E-3</c:v>
                </c:pt>
                <c:pt idx="336">
                  <c:v>1.9646365422E-2</c:v>
                </c:pt>
                <c:pt idx="337">
                  <c:v>2.3529411763999999E-2</c:v>
                </c:pt>
                <c:pt idx="338">
                  <c:v>1.2672381662E-2</c:v>
                </c:pt>
                <c:pt idx="339">
                  <c:v>9.529664924E-3</c:v>
                </c:pt>
                <c:pt idx="340">
                  <c:v>1.1299435028E-2</c:v>
                </c:pt>
                <c:pt idx="341">
                  <c:v>1.9210245463999999E-2</c:v>
                </c:pt>
                <c:pt idx="342">
                  <c:v>8.1163341219999997E-3</c:v>
                </c:pt>
                <c:pt idx="343">
                  <c:v>2.2013860578000002E-2</c:v>
                </c:pt>
                <c:pt idx="344">
                  <c:v>1.6921837227999999E-2</c:v>
                </c:pt>
                <c:pt idx="345">
                  <c:v>1.3636363635999999E-2</c:v>
                </c:pt>
                <c:pt idx="346">
                  <c:v>1.2179487179E-2</c:v>
                </c:pt>
                <c:pt idx="347">
                  <c:v>1.8563357546000001E-2</c:v>
                </c:pt>
                <c:pt idx="348">
                  <c:v>1.1223344555999999E-2</c:v>
                </c:pt>
                <c:pt idx="349">
                  <c:v>1.4519056261E-2</c:v>
                </c:pt>
                <c:pt idx="350">
                  <c:v>2.0654044749999999E-2</c:v>
                </c:pt>
                <c:pt idx="351">
                  <c:v>2.1409455841999998E-2</c:v>
                </c:pt>
                <c:pt idx="352">
                  <c:v>1.2969588549999999E-2</c:v>
                </c:pt>
                <c:pt idx="353">
                  <c:v>1.048584411E-2</c:v>
                </c:pt>
                <c:pt idx="354">
                  <c:v>2.4390243902000001E-2</c:v>
                </c:pt>
                <c:pt idx="355">
                  <c:v>1.6470588235E-2</c:v>
                </c:pt>
                <c:pt idx="356">
                  <c:v>1.5586255756000001E-2</c:v>
                </c:pt>
                <c:pt idx="357">
                  <c:v>2.6411657559000001E-2</c:v>
                </c:pt>
                <c:pt idx="358">
                  <c:v>2.5768911055E-2</c:v>
                </c:pt>
                <c:pt idx="359">
                  <c:v>1.6562220232000002E-2</c:v>
                </c:pt>
                <c:pt idx="360">
                  <c:v>1.2474849094E-2</c:v>
                </c:pt>
                <c:pt idx="361">
                  <c:v>2.5423728813E-2</c:v>
                </c:pt>
                <c:pt idx="362">
                  <c:v>1.1098779134E-2</c:v>
                </c:pt>
                <c:pt idx="363">
                  <c:v>1.4909090909E-2</c:v>
                </c:pt>
                <c:pt idx="364">
                  <c:v>1.7761989342E-2</c:v>
                </c:pt>
                <c:pt idx="365">
                  <c:v>2.1028914757E-2</c:v>
                </c:pt>
                <c:pt idx="366">
                  <c:v>3.4538805362999997E-2</c:v>
                </c:pt>
                <c:pt idx="367">
                  <c:v>2.3574144485999999E-2</c:v>
                </c:pt>
                <c:pt idx="368">
                  <c:v>2.5465230166E-2</c:v>
                </c:pt>
                <c:pt idx="369">
                  <c:v>3.3251231526999998E-2</c:v>
                </c:pt>
                <c:pt idx="370">
                  <c:v>2.6788432266999999E-2</c:v>
                </c:pt>
                <c:pt idx="371">
                  <c:v>3.9229181003999997E-2</c:v>
                </c:pt>
                <c:pt idx="372">
                  <c:v>2.9985007495999999E-2</c:v>
                </c:pt>
                <c:pt idx="373">
                  <c:v>3.8870431892999997E-2</c:v>
                </c:pt>
                <c:pt idx="374">
                  <c:v>3.0895334173999998E-2</c:v>
                </c:pt>
                <c:pt idx="375">
                  <c:v>3.9351851851E-2</c:v>
                </c:pt>
                <c:pt idx="376">
                  <c:v>2.9661016948999998E-2</c:v>
                </c:pt>
                <c:pt idx="377">
                  <c:v>2.8500276700999999E-2</c:v>
                </c:pt>
                <c:pt idx="378">
                  <c:v>3.7598544572000001E-2</c:v>
                </c:pt>
                <c:pt idx="379">
                  <c:v>2.9767167697999999E-2</c:v>
                </c:pt>
                <c:pt idx="380">
                  <c:v>3.8383838383000003E-2</c:v>
                </c:pt>
                <c:pt idx="381">
                  <c:v>3.2853651913999998E-2</c:v>
                </c:pt>
                <c:pt idx="382">
                  <c:v>3.4435261707000002E-2</c:v>
                </c:pt>
                <c:pt idx="383">
                  <c:v>2.8361344537E-2</c:v>
                </c:pt>
                <c:pt idx="384">
                  <c:v>2.685546875E-2</c:v>
                </c:pt>
                <c:pt idx="385">
                  <c:v>3.1691012625999999E-2</c:v>
                </c:pt>
                <c:pt idx="386">
                  <c:v>2.9179810725000001E-2</c:v>
                </c:pt>
                <c:pt idx="387">
                  <c:v>2.5703463203000002E-2</c:v>
                </c:pt>
                <c:pt idx="388">
                  <c:v>2.8735632183000001E-2</c:v>
                </c:pt>
                <c:pt idx="389">
                  <c:v>4.1339985744000003E-2</c:v>
                </c:pt>
                <c:pt idx="390">
                  <c:v>4.0404040404000002E-2</c:v>
                </c:pt>
                <c:pt idx="391">
                  <c:v>4.4835414301E-2</c:v>
                </c:pt>
                <c:pt idx="392">
                  <c:v>5.9094397543999998E-2</c:v>
                </c:pt>
                <c:pt idx="393">
                  <c:v>4.1196665031000002E-2</c:v>
                </c:pt>
                <c:pt idx="394">
                  <c:v>5.5555555554999997E-2</c:v>
                </c:pt>
                <c:pt idx="395">
                  <c:v>4.2652859959999997E-2</c:v>
                </c:pt>
                <c:pt idx="396">
                  <c:v>6.9589422407000001E-2</c:v>
                </c:pt>
                <c:pt idx="397">
                  <c:v>5.0534499513999999E-2</c:v>
                </c:pt>
                <c:pt idx="398">
                  <c:v>4.3599059628000002E-2</c:v>
                </c:pt>
                <c:pt idx="399">
                  <c:v>6.3005230622000002E-2</c:v>
                </c:pt>
                <c:pt idx="400">
                  <c:v>5.6921995783000001E-2</c:v>
                </c:pt>
                <c:pt idx="401">
                  <c:v>5.8731401721999997E-2</c:v>
                </c:pt>
                <c:pt idx="402">
                  <c:v>5.9802392094999997E-2</c:v>
                </c:pt>
                <c:pt idx="403">
                  <c:v>5.8781362007000001E-2</c:v>
                </c:pt>
                <c:pt idx="404">
                  <c:v>5.1282051282000002E-2</c:v>
                </c:pt>
                <c:pt idx="405">
                  <c:v>6.3066863530000003E-2</c:v>
                </c:pt>
                <c:pt idx="406">
                  <c:v>7.6284496297000001E-2</c:v>
                </c:pt>
                <c:pt idx="407">
                  <c:v>7.3249696478999995E-2</c:v>
                </c:pt>
                <c:pt idx="408">
                  <c:v>7.5391180653999995E-2</c:v>
                </c:pt>
                <c:pt idx="409">
                  <c:v>8.0675422137999997E-2</c:v>
                </c:pt>
                <c:pt idx="410">
                  <c:v>9.8936170212000005E-2</c:v>
                </c:pt>
                <c:pt idx="411">
                  <c:v>9.3158660843999999E-2</c:v>
                </c:pt>
                <c:pt idx="412">
                  <c:v>0.10448707785</c:v>
                </c:pt>
                <c:pt idx="413">
                  <c:v>0.127201897018</c:v>
                </c:pt>
                <c:pt idx="414">
                  <c:v>0.12157955104</c:v>
                </c:pt>
                <c:pt idx="415">
                  <c:v>0.13673469387699999</c:v>
                </c:pt>
                <c:pt idx="416">
                  <c:v>0.151644157369</c:v>
                </c:pt>
                <c:pt idx="417">
                  <c:v>0.16622491480400001</c:v>
                </c:pt>
                <c:pt idx="418">
                  <c:v>0.16379310344799999</c:v>
                </c:pt>
                <c:pt idx="419">
                  <c:v>0.144601297214</c:v>
                </c:pt>
                <c:pt idx="420">
                  <c:v>0.1904296875</c:v>
                </c:pt>
                <c:pt idx="421">
                  <c:v>0.19916634101799999</c:v>
                </c:pt>
                <c:pt idx="422">
                  <c:v>0.25951341235100001</c:v>
                </c:pt>
                <c:pt idx="423">
                  <c:v>0.203896816684</c:v>
                </c:pt>
                <c:pt idx="424">
                  <c:v>0.25456621004500002</c:v>
                </c:pt>
                <c:pt idx="425">
                  <c:v>0.16151468315299999</c:v>
                </c:pt>
                <c:pt idx="426">
                  <c:v>0.21334943083800001</c:v>
                </c:pt>
                <c:pt idx="427">
                  <c:v>0.27846853677</c:v>
                </c:pt>
                <c:pt idx="428">
                  <c:v>0.30581180811800002</c:v>
                </c:pt>
                <c:pt idx="429">
                  <c:v>0.28440580610100002</c:v>
                </c:pt>
                <c:pt idx="430">
                  <c:v>0.292398513227</c:v>
                </c:pt>
                <c:pt idx="431">
                  <c:v>0.28889958293200002</c:v>
                </c:pt>
                <c:pt idx="432">
                  <c:v>0.245088566827</c:v>
                </c:pt>
                <c:pt idx="433">
                  <c:v>0.25079108102100001</c:v>
                </c:pt>
                <c:pt idx="434">
                  <c:v>0.33614697120100001</c:v>
                </c:pt>
                <c:pt idx="435">
                  <c:v>0.33703750473499999</c:v>
                </c:pt>
                <c:pt idx="436">
                  <c:v>0.28099393777800002</c:v>
                </c:pt>
                <c:pt idx="437">
                  <c:v>0.348395587866</c:v>
                </c:pt>
                <c:pt idx="438">
                  <c:v>0.38322025052100001</c:v>
                </c:pt>
                <c:pt idx="439">
                  <c:v>0.30965471739599998</c:v>
                </c:pt>
                <c:pt idx="440">
                  <c:v>0.25535748761100002</c:v>
                </c:pt>
                <c:pt idx="441">
                  <c:v>0.39323561453799999</c:v>
                </c:pt>
                <c:pt idx="442">
                  <c:v>0.43158828748799999</c:v>
                </c:pt>
                <c:pt idx="443">
                  <c:v>0.305517920926</c:v>
                </c:pt>
                <c:pt idx="444">
                  <c:v>0.417818097231</c:v>
                </c:pt>
                <c:pt idx="445">
                  <c:v>0.40974743806899999</c:v>
                </c:pt>
                <c:pt idx="446">
                  <c:v>0.363484367162</c:v>
                </c:pt>
                <c:pt idx="447">
                  <c:v>0.283911313246</c:v>
                </c:pt>
                <c:pt idx="448">
                  <c:v>0.39351754790499999</c:v>
                </c:pt>
                <c:pt idx="449">
                  <c:v>0.28569151691400002</c:v>
                </c:pt>
                <c:pt idx="450">
                  <c:v>0.48451626992699998</c:v>
                </c:pt>
                <c:pt idx="451">
                  <c:v>0.38282548476400002</c:v>
                </c:pt>
                <c:pt idx="452">
                  <c:v>0.376045296167</c:v>
                </c:pt>
                <c:pt idx="453">
                  <c:v>0.37435272616499998</c:v>
                </c:pt>
                <c:pt idx="454">
                  <c:v>0.31777588773100002</c:v>
                </c:pt>
                <c:pt idx="455">
                  <c:v>0.35744297719000001</c:v>
                </c:pt>
                <c:pt idx="456">
                  <c:v>0.36842337570599998</c:v>
                </c:pt>
                <c:pt idx="457">
                  <c:v>0.35942226993199999</c:v>
                </c:pt>
                <c:pt idx="458">
                  <c:v>0.35396408910799998</c:v>
                </c:pt>
                <c:pt idx="459">
                  <c:v>0.34446450060099998</c:v>
                </c:pt>
                <c:pt idx="460">
                  <c:v>0.28484721640799998</c:v>
                </c:pt>
                <c:pt idx="461">
                  <c:v>0.305622540931</c:v>
                </c:pt>
                <c:pt idx="462">
                  <c:v>0.34753998785099999</c:v>
                </c:pt>
                <c:pt idx="463">
                  <c:v>0.34037813445999998</c:v>
                </c:pt>
                <c:pt idx="464">
                  <c:v>0.32355694227699999</c:v>
                </c:pt>
                <c:pt idx="465">
                  <c:v>0.30726218417700002</c:v>
                </c:pt>
                <c:pt idx="466">
                  <c:v>0.32240286580299998</c:v>
                </c:pt>
                <c:pt idx="467">
                  <c:v>0.22743885296499999</c:v>
                </c:pt>
                <c:pt idx="468">
                  <c:v>0.25765615524500002</c:v>
                </c:pt>
                <c:pt idx="469">
                  <c:v>0.327071290944</c:v>
                </c:pt>
                <c:pt idx="470">
                  <c:v>0.28402625820499999</c:v>
                </c:pt>
                <c:pt idx="471">
                  <c:v>0.26087308003199999</c:v>
                </c:pt>
                <c:pt idx="472">
                  <c:v>0.256128702757</c:v>
                </c:pt>
                <c:pt idx="473">
                  <c:v>0.26259599175800002</c:v>
                </c:pt>
                <c:pt idx="474">
                  <c:v>0.17120622567999999</c:v>
                </c:pt>
                <c:pt idx="475">
                  <c:v>0.21240338951400001</c:v>
                </c:pt>
                <c:pt idx="476">
                  <c:v>0.28540092615099999</c:v>
                </c:pt>
                <c:pt idx="477">
                  <c:v>0.22423044337699999</c:v>
                </c:pt>
                <c:pt idx="478">
                  <c:v>0.233835960703</c:v>
                </c:pt>
                <c:pt idx="479">
                  <c:v>0.20106524633799999</c:v>
                </c:pt>
                <c:pt idx="480">
                  <c:v>0.15534491837799999</c:v>
                </c:pt>
                <c:pt idx="481">
                  <c:v>0.14754098360599999</c:v>
                </c:pt>
                <c:pt idx="482">
                  <c:v>0.210056497175</c:v>
                </c:pt>
                <c:pt idx="483">
                  <c:v>0.26673267326700001</c:v>
                </c:pt>
                <c:pt idx="484">
                  <c:v>0.22982538933400001</c:v>
                </c:pt>
                <c:pt idx="485">
                  <c:v>0.24865573770400001</c:v>
                </c:pt>
                <c:pt idx="486">
                  <c:v>0.24484848484800001</c:v>
                </c:pt>
                <c:pt idx="487">
                  <c:v>0.20033670033600001</c:v>
                </c:pt>
                <c:pt idx="488">
                  <c:v>0.114764667956</c:v>
                </c:pt>
                <c:pt idx="489">
                  <c:v>0.187558980811</c:v>
                </c:pt>
                <c:pt idx="490">
                  <c:v>0.22888984140499999</c:v>
                </c:pt>
                <c:pt idx="491">
                  <c:v>0.208920985556</c:v>
                </c:pt>
                <c:pt idx="492">
                  <c:v>0.178987951807</c:v>
                </c:pt>
                <c:pt idx="493">
                  <c:v>0.17899880335000001</c:v>
                </c:pt>
                <c:pt idx="494">
                  <c:v>0.187514292247</c:v>
                </c:pt>
                <c:pt idx="495">
                  <c:v>0.12582538517899999</c:v>
                </c:pt>
                <c:pt idx="496">
                  <c:v>0.160396039603</c:v>
                </c:pt>
                <c:pt idx="497">
                  <c:v>0.22964224872200001</c:v>
                </c:pt>
                <c:pt idx="498">
                  <c:v>0.239142236699</c:v>
                </c:pt>
                <c:pt idx="499">
                  <c:v>0.24686716791900001</c:v>
                </c:pt>
                <c:pt idx="500">
                  <c:v>0.25780202092400001</c:v>
                </c:pt>
                <c:pt idx="501">
                  <c:v>0.27925025626</c:v>
                </c:pt>
                <c:pt idx="502">
                  <c:v>0.24120603015</c:v>
                </c:pt>
                <c:pt idx="503">
                  <c:v>0.272261370916</c:v>
                </c:pt>
                <c:pt idx="504">
                  <c:v>0.34807807971999999</c:v>
                </c:pt>
                <c:pt idx="505">
                  <c:v>0.35058016877600001</c:v>
                </c:pt>
                <c:pt idx="506">
                  <c:v>0.36070894945600002</c:v>
                </c:pt>
                <c:pt idx="507">
                  <c:v>0.35802833530099998</c:v>
                </c:pt>
                <c:pt idx="508">
                  <c:v>0.36495078825799998</c:v>
                </c:pt>
                <c:pt idx="509">
                  <c:v>0.355932203389</c:v>
                </c:pt>
                <c:pt idx="510">
                  <c:v>0.32759877533100001</c:v>
                </c:pt>
                <c:pt idx="511">
                  <c:v>0.35780044787199999</c:v>
                </c:pt>
                <c:pt idx="512">
                  <c:v>0.47635312664200002</c:v>
                </c:pt>
                <c:pt idx="513">
                  <c:v>0.35719147777499999</c:v>
                </c:pt>
                <c:pt idx="514">
                  <c:v>0.46237950443100001</c:v>
                </c:pt>
                <c:pt idx="515">
                  <c:v>0.28276071754299997</c:v>
                </c:pt>
                <c:pt idx="516">
                  <c:v>0.59393939393899997</c:v>
                </c:pt>
                <c:pt idx="517">
                  <c:v>0.325087593397</c:v>
                </c:pt>
                <c:pt idx="518">
                  <c:v>0.46621988770099998</c:v>
                </c:pt>
                <c:pt idx="519">
                  <c:v>0.42788777329400002</c:v>
                </c:pt>
                <c:pt idx="520">
                  <c:v>0.41330558583499999</c:v>
                </c:pt>
                <c:pt idx="521">
                  <c:v>0.373133176397</c:v>
                </c:pt>
                <c:pt idx="522">
                  <c:v>0.54760378265700005</c:v>
                </c:pt>
                <c:pt idx="523">
                  <c:v>0.32344793873200001</c:v>
                </c:pt>
                <c:pt idx="524">
                  <c:v>0.37732107445399998</c:v>
                </c:pt>
                <c:pt idx="525">
                  <c:v>0.42688687750100002</c:v>
                </c:pt>
                <c:pt idx="526">
                  <c:v>0.43055963110399997</c:v>
                </c:pt>
                <c:pt idx="527">
                  <c:v>0.40080369102500002</c:v>
                </c:pt>
                <c:pt idx="528">
                  <c:v>0.40958832725299998</c:v>
                </c:pt>
                <c:pt idx="529">
                  <c:v>0.39472688280500001</c:v>
                </c:pt>
                <c:pt idx="530">
                  <c:v>0.31041890440300002</c:v>
                </c:pt>
                <c:pt idx="531">
                  <c:v>0.33704719780499998</c:v>
                </c:pt>
                <c:pt idx="532">
                  <c:v>0.42839834102199997</c:v>
                </c:pt>
                <c:pt idx="533">
                  <c:v>0.37133202916500002</c:v>
                </c:pt>
                <c:pt idx="534">
                  <c:v>0.36773520979899998</c:v>
                </c:pt>
                <c:pt idx="535">
                  <c:v>0.35806336774600001</c:v>
                </c:pt>
                <c:pt idx="536">
                  <c:v>0.35636528575699999</c:v>
                </c:pt>
                <c:pt idx="537">
                  <c:v>0.26722734671699999</c:v>
                </c:pt>
                <c:pt idx="538">
                  <c:v>0.337710688418</c:v>
                </c:pt>
                <c:pt idx="539">
                  <c:v>0.376839854069</c:v>
                </c:pt>
                <c:pt idx="540">
                  <c:v>0.36021956239899999</c:v>
                </c:pt>
                <c:pt idx="541">
                  <c:v>0.35643150054299999</c:v>
                </c:pt>
                <c:pt idx="542">
                  <c:v>0.344169109157</c:v>
                </c:pt>
                <c:pt idx="543">
                  <c:v>0.334022323274</c:v>
                </c:pt>
                <c:pt idx="544">
                  <c:v>0.27343223196200001</c:v>
                </c:pt>
                <c:pt idx="545">
                  <c:v>0.32234516674300001</c:v>
                </c:pt>
                <c:pt idx="546">
                  <c:v>0.37592061400100002</c:v>
                </c:pt>
                <c:pt idx="547">
                  <c:v>0.36183192206100001</c:v>
                </c:pt>
                <c:pt idx="548">
                  <c:v>0.34859327516900002</c:v>
                </c:pt>
                <c:pt idx="549">
                  <c:v>0.34589800443399998</c:v>
                </c:pt>
                <c:pt idx="550">
                  <c:v>0.34502235820100002</c:v>
                </c:pt>
                <c:pt idx="551">
                  <c:v>0.25469571750499997</c:v>
                </c:pt>
                <c:pt idx="552">
                  <c:v>0.34517238620899998</c:v>
                </c:pt>
                <c:pt idx="553">
                  <c:v>0.38206954335900001</c:v>
                </c:pt>
                <c:pt idx="554">
                  <c:v>0.36765518511599998</c:v>
                </c:pt>
                <c:pt idx="555">
                  <c:v>0.36887316826599997</c:v>
                </c:pt>
                <c:pt idx="556">
                  <c:v>0.367404998983</c:v>
                </c:pt>
                <c:pt idx="557">
                  <c:v>0.35099502487500001</c:v>
                </c:pt>
                <c:pt idx="558">
                  <c:v>0.28452380952299999</c:v>
                </c:pt>
                <c:pt idx="559">
                  <c:v>0.34815833715400002</c:v>
                </c:pt>
                <c:pt idx="560">
                  <c:v>0.36155881645400001</c:v>
                </c:pt>
                <c:pt idx="561">
                  <c:v>0.34164946603200003</c:v>
                </c:pt>
                <c:pt idx="562">
                  <c:v>0.34908565928700003</c:v>
                </c:pt>
                <c:pt idx="563">
                  <c:v>0.35365853658500002</c:v>
                </c:pt>
                <c:pt idx="564">
                  <c:v>0.34338313767299999</c:v>
                </c:pt>
                <c:pt idx="565">
                  <c:v>0.27230046948300002</c:v>
                </c:pt>
                <c:pt idx="566">
                  <c:v>0.33053177283700003</c:v>
                </c:pt>
                <c:pt idx="567">
                  <c:v>0.35369928400900003</c:v>
                </c:pt>
                <c:pt idx="568">
                  <c:v>0.33626432187499999</c:v>
                </c:pt>
                <c:pt idx="569">
                  <c:v>0.340445079624</c:v>
                </c:pt>
                <c:pt idx="570">
                  <c:v>0.33426045495099999</c:v>
                </c:pt>
                <c:pt idx="571">
                  <c:v>0.293267841664</c:v>
                </c:pt>
                <c:pt idx="572">
                  <c:v>0.278359908883</c:v>
                </c:pt>
                <c:pt idx="573">
                  <c:v>0.31168189676399999</c:v>
                </c:pt>
                <c:pt idx="574">
                  <c:v>0.31167512690299998</c:v>
                </c:pt>
                <c:pt idx="575">
                  <c:v>0.29694444444399998</c:v>
                </c:pt>
                <c:pt idx="576">
                  <c:v>0.30087933043699999</c:v>
                </c:pt>
                <c:pt idx="577">
                  <c:v>0.29848724317000003</c:v>
                </c:pt>
                <c:pt idx="578">
                  <c:v>0.26529338327000002</c:v>
                </c:pt>
                <c:pt idx="579">
                  <c:v>0.22097378277099999</c:v>
                </c:pt>
                <c:pt idx="580">
                  <c:v>0.27850312614900002</c:v>
                </c:pt>
                <c:pt idx="581">
                  <c:v>0.28156719447799999</c:v>
                </c:pt>
                <c:pt idx="582">
                  <c:v>0.27126230975799998</c:v>
                </c:pt>
                <c:pt idx="583">
                  <c:v>0.28350450107699998</c:v>
                </c:pt>
                <c:pt idx="584">
                  <c:v>0.26416855580699999</c:v>
                </c:pt>
                <c:pt idx="585">
                  <c:v>0.27091354567699999</c:v>
                </c:pt>
                <c:pt idx="586">
                  <c:v>0.19950433705000001</c:v>
                </c:pt>
                <c:pt idx="587">
                  <c:v>0.23555156548</c:v>
                </c:pt>
                <c:pt idx="588">
                  <c:v>0.23446974801199999</c:v>
                </c:pt>
                <c:pt idx="589">
                  <c:v>0.23772102161100001</c:v>
                </c:pt>
                <c:pt idx="590">
                  <c:v>0.23844448234599999</c:v>
                </c:pt>
                <c:pt idx="591">
                  <c:v>0.23331463825000001</c:v>
                </c:pt>
                <c:pt idx="592">
                  <c:v>0.21990891346700001</c:v>
                </c:pt>
                <c:pt idx="593">
                  <c:v>0.20895522388000001</c:v>
                </c:pt>
                <c:pt idx="594">
                  <c:v>0.158935879945</c:v>
                </c:pt>
                <c:pt idx="595">
                  <c:v>0.207195873694</c:v>
                </c:pt>
                <c:pt idx="596">
                  <c:v>0.21711840228199999</c:v>
                </c:pt>
                <c:pt idx="597">
                  <c:v>0.19175627240099999</c:v>
                </c:pt>
                <c:pt idx="598">
                  <c:v>0.18821729150700001</c:v>
                </c:pt>
                <c:pt idx="599">
                  <c:v>0.18176572417699999</c:v>
                </c:pt>
                <c:pt idx="600">
                  <c:v>0.131983805668</c:v>
                </c:pt>
                <c:pt idx="601">
                  <c:v>0.16893079750600001</c:v>
                </c:pt>
                <c:pt idx="602">
                  <c:v>0.17402361489500001</c:v>
                </c:pt>
                <c:pt idx="603">
                  <c:v>0.160132890365</c:v>
                </c:pt>
                <c:pt idx="604">
                  <c:v>0.176677557175</c:v>
                </c:pt>
                <c:pt idx="605">
                  <c:v>0.18087923728800001</c:v>
                </c:pt>
                <c:pt idx="606">
                  <c:v>0.11992263055999999</c:v>
                </c:pt>
                <c:pt idx="607">
                  <c:v>0.112540192926</c:v>
                </c:pt>
                <c:pt idx="608">
                  <c:v>0.14865363334500001</c:v>
                </c:pt>
                <c:pt idx="609">
                  <c:v>0.15962560080900001</c:v>
                </c:pt>
                <c:pt idx="610">
                  <c:v>0.15687346269399999</c:v>
                </c:pt>
                <c:pt idx="611">
                  <c:v>0.16143497757799999</c:v>
                </c:pt>
                <c:pt idx="612">
                  <c:v>0.16087699316599999</c:v>
                </c:pt>
                <c:pt idx="613">
                  <c:v>0.125343092406</c:v>
                </c:pt>
                <c:pt idx="614">
                  <c:v>8.7011349306000005E-2</c:v>
                </c:pt>
                <c:pt idx="615">
                  <c:v>0.15881903792300001</c:v>
                </c:pt>
                <c:pt idx="616">
                  <c:v>0.16651418115200001</c:v>
                </c:pt>
                <c:pt idx="617">
                  <c:v>0.14930069930000001</c:v>
                </c:pt>
                <c:pt idx="618">
                  <c:v>0.13761814744799999</c:v>
                </c:pt>
                <c:pt idx="619">
                  <c:v>0.13364966389800001</c:v>
                </c:pt>
                <c:pt idx="620">
                  <c:v>0.101910828025</c:v>
                </c:pt>
                <c:pt idx="621">
                  <c:v>8.1037277147E-2</c:v>
                </c:pt>
                <c:pt idx="622">
                  <c:v>0.11738293778</c:v>
                </c:pt>
                <c:pt idx="623">
                  <c:v>0.140264650283</c:v>
                </c:pt>
                <c:pt idx="624">
                  <c:v>0.12269372693699999</c:v>
                </c:pt>
                <c:pt idx="625">
                  <c:v>0.119773519163</c:v>
                </c:pt>
                <c:pt idx="626">
                  <c:v>0.111576011157</c:v>
                </c:pt>
                <c:pt idx="627">
                  <c:v>7.5443786981999994E-2</c:v>
                </c:pt>
                <c:pt idx="628">
                  <c:v>8.4148727983999999E-2</c:v>
                </c:pt>
                <c:pt idx="629">
                  <c:v>0.111111111111</c:v>
                </c:pt>
                <c:pt idx="630">
                  <c:v>6.4947468957999993E-2</c:v>
                </c:pt>
                <c:pt idx="631">
                  <c:v>0.102436323366</c:v>
                </c:pt>
                <c:pt idx="632">
                  <c:v>0.10104102878100001</c:v>
                </c:pt>
                <c:pt idx="633">
                  <c:v>0.100779510022</c:v>
                </c:pt>
                <c:pt idx="634">
                  <c:v>6.0413354531000003E-2</c:v>
                </c:pt>
                <c:pt idx="635">
                  <c:v>5.7007125890000003E-2</c:v>
                </c:pt>
                <c:pt idx="636">
                  <c:v>0.108096085409</c:v>
                </c:pt>
                <c:pt idx="637">
                  <c:v>0.11637193382699999</c:v>
                </c:pt>
                <c:pt idx="638">
                  <c:v>0.104155124653</c:v>
                </c:pt>
                <c:pt idx="639">
                  <c:v>0.116713352007</c:v>
                </c:pt>
                <c:pt idx="640">
                  <c:v>0.110081112398</c:v>
                </c:pt>
                <c:pt idx="641">
                  <c:v>9.0551181102E-2</c:v>
                </c:pt>
                <c:pt idx="642">
                  <c:v>4.6242774565999997E-2</c:v>
                </c:pt>
                <c:pt idx="643">
                  <c:v>0.12881806108800001</c:v>
                </c:pt>
                <c:pt idx="644">
                  <c:v>0.11784702549499999</c:v>
                </c:pt>
                <c:pt idx="645">
                  <c:v>0.14913844325600001</c:v>
                </c:pt>
                <c:pt idx="646">
                  <c:v>0.13032089063499999</c:v>
                </c:pt>
                <c:pt idx="647">
                  <c:v>0.135198135198</c:v>
                </c:pt>
                <c:pt idx="648">
                  <c:v>0.12323232323199999</c:v>
                </c:pt>
                <c:pt idx="649">
                  <c:v>9.5354523226999999E-2</c:v>
                </c:pt>
                <c:pt idx="650">
                  <c:v>0.14571948998100001</c:v>
                </c:pt>
                <c:pt idx="651">
                  <c:v>0.18206972883200001</c:v>
                </c:pt>
                <c:pt idx="652">
                  <c:v>0.17674970343999999</c:v>
                </c:pt>
                <c:pt idx="653">
                  <c:v>0.17513448894200001</c:v>
                </c:pt>
                <c:pt idx="654">
                  <c:v>0.18707865168500001</c:v>
                </c:pt>
                <c:pt idx="655">
                  <c:v>0.12522686025400001</c:v>
                </c:pt>
                <c:pt idx="656">
                  <c:v>0.110429447852</c:v>
                </c:pt>
                <c:pt idx="657">
                  <c:v>0.17809330628799999</c:v>
                </c:pt>
                <c:pt idx="658">
                  <c:v>0.181906614785</c:v>
                </c:pt>
                <c:pt idx="659">
                  <c:v>0.183783783783</c:v>
                </c:pt>
                <c:pt idx="660">
                  <c:v>0.21418826739399999</c:v>
                </c:pt>
                <c:pt idx="661">
                  <c:v>0.226018396846</c:v>
                </c:pt>
                <c:pt idx="662">
                  <c:v>0.223201174743</c:v>
                </c:pt>
                <c:pt idx="663">
                  <c:v>0.15031315240000001</c:v>
                </c:pt>
                <c:pt idx="664">
                  <c:v>0.26345192590400002</c:v>
                </c:pt>
                <c:pt idx="665">
                  <c:v>0.278971354166</c:v>
                </c:pt>
                <c:pt idx="666">
                  <c:v>0.26961087090699998</c:v>
                </c:pt>
                <c:pt idx="667">
                  <c:v>0.24889793150200001</c:v>
                </c:pt>
                <c:pt idx="668">
                  <c:v>0.27808905927400002</c:v>
                </c:pt>
                <c:pt idx="669">
                  <c:v>0.27496917385899999</c:v>
                </c:pt>
                <c:pt idx="670">
                  <c:v>0.16291161178499999</c:v>
                </c:pt>
                <c:pt idx="671">
                  <c:v>0.26079545454500003</c:v>
                </c:pt>
                <c:pt idx="672">
                  <c:v>0.31346578366400002</c:v>
                </c:pt>
                <c:pt idx="673">
                  <c:v>0.205748865355</c:v>
                </c:pt>
                <c:pt idx="674">
                  <c:v>0.30311995696600003</c:v>
                </c:pt>
                <c:pt idx="675">
                  <c:v>0.30683624801199999</c:v>
                </c:pt>
                <c:pt idx="676">
                  <c:v>0.28867761452000001</c:v>
                </c:pt>
                <c:pt idx="677">
                  <c:v>0.23613086770899999</c:v>
                </c:pt>
                <c:pt idx="678">
                  <c:v>0.28193998867699999</c:v>
                </c:pt>
                <c:pt idx="679">
                  <c:v>0.29730815588499998</c:v>
                </c:pt>
                <c:pt idx="680">
                  <c:v>0.30016214025100002</c:v>
                </c:pt>
                <c:pt idx="681">
                  <c:v>0.28454545454500002</c:v>
                </c:pt>
                <c:pt idx="682">
                  <c:v>0.32695948504299999</c:v>
                </c:pt>
                <c:pt idx="683">
                  <c:v>0.277012327773</c:v>
                </c:pt>
                <c:pt idx="684">
                  <c:v>0.1917973462</c:v>
                </c:pt>
                <c:pt idx="685">
                  <c:v>0.33879093198900001</c:v>
                </c:pt>
                <c:pt idx="686">
                  <c:v>0.35756441629399999</c:v>
                </c:pt>
                <c:pt idx="687">
                  <c:v>0.33300970873699998</c:v>
                </c:pt>
                <c:pt idx="688">
                  <c:v>0.35423905489899998</c:v>
                </c:pt>
                <c:pt idx="689">
                  <c:v>0.368288166975</c:v>
                </c:pt>
                <c:pt idx="690">
                  <c:v>0.35291005290999999</c:v>
                </c:pt>
                <c:pt idx="691">
                  <c:v>0.25479744136400001</c:v>
                </c:pt>
                <c:pt idx="692">
                  <c:v>0.368386155682</c:v>
                </c:pt>
                <c:pt idx="693">
                  <c:v>0.371326164874</c:v>
                </c:pt>
                <c:pt idx="694">
                  <c:v>0.35908803039800002</c:v>
                </c:pt>
                <c:pt idx="695">
                  <c:v>0.32779349363499999</c:v>
                </c:pt>
                <c:pt idx="696">
                  <c:v>0.33546530220600002</c:v>
                </c:pt>
                <c:pt idx="697">
                  <c:v>0.28483606557300001</c:v>
                </c:pt>
                <c:pt idx="698">
                  <c:v>0.227557411273</c:v>
                </c:pt>
                <c:pt idx="699">
                  <c:v>0.32717543636099999</c:v>
                </c:pt>
                <c:pt idx="700">
                  <c:v>0.35443234836699999</c:v>
                </c:pt>
                <c:pt idx="701">
                  <c:v>0.35064267352099998</c:v>
                </c:pt>
                <c:pt idx="702">
                  <c:v>0.32784250703000001</c:v>
                </c:pt>
                <c:pt idx="703">
                  <c:v>0.34234731420100001</c:v>
                </c:pt>
                <c:pt idx="704">
                  <c:v>0.29320722269900001</c:v>
                </c:pt>
                <c:pt idx="705">
                  <c:v>0.23020706455500001</c:v>
                </c:pt>
                <c:pt idx="706">
                  <c:v>0.32508886255899999</c:v>
                </c:pt>
                <c:pt idx="707">
                  <c:v>0.32288732394300002</c:v>
                </c:pt>
                <c:pt idx="708">
                  <c:v>0.31455050973100002</c:v>
                </c:pt>
                <c:pt idx="709">
                  <c:v>0.31434689507399999</c:v>
                </c:pt>
                <c:pt idx="710">
                  <c:v>0.32597656250000001</c:v>
                </c:pt>
                <c:pt idx="711">
                  <c:v>0.30364372469599998</c:v>
                </c:pt>
                <c:pt idx="712">
                  <c:v>0.24327784891099999</c:v>
                </c:pt>
                <c:pt idx="713">
                  <c:v>0.32061639736600001</c:v>
                </c:pt>
                <c:pt idx="714">
                  <c:v>0.33304779852600003</c:v>
                </c:pt>
                <c:pt idx="715">
                  <c:v>0.33883837446600001</c:v>
                </c:pt>
                <c:pt idx="716">
                  <c:v>0.318181818181</c:v>
                </c:pt>
                <c:pt idx="717">
                  <c:v>0.31632047477699998</c:v>
                </c:pt>
                <c:pt idx="718">
                  <c:v>0.29333333333299999</c:v>
                </c:pt>
                <c:pt idx="719">
                  <c:v>0.18767123287599999</c:v>
                </c:pt>
                <c:pt idx="720">
                  <c:v>0.325686537173</c:v>
                </c:pt>
                <c:pt idx="721">
                  <c:v>0.32263086203500002</c:v>
                </c:pt>
                <c:pt idx="722">
                  <c:v>0.299260823653</c:v>
                </c:pt>
                <c:pt idx="723">
                  <c:v>0.28328677839799998</c:v>
                </c:pt>
                <c:pt idx="724">
                  <c:v>0.31173999557799997</c:v>
                </c:pt>
                <c:pt idx="725">
                  <c:v>0.27170868347299998</c:v>
                </c:pt>
                <c:pt idx="726">
                  <c:v>0.20781250000000001</c:v>
                </c:pt>
                <c:pt idx="727">
                  <c:v>0.32429846938700002</c:v>
                </c:pt>
                <c:pt idx="728">
                  <c:v>0.32416540212400002</c:v>
                </c:pt>
                <c:pt idx="729">
                  <c:v>0.30125353821200002</c:v>
                </c:pt>
                <c:pt idx="730">
                  <c:v>0.29711538461499998</c:v>
                </c:pt>
                <c:pt idx="731">
                  <c:v>0.30103440996399999</c:v>
                </c:pt>
                <c:pt idx="732">
                  <c:v>0.26895119418399999</c:v>
                </c:pt>
                <c:pt idx="733">
                  <c:v>0.18003025718599999</c:v>
                </c:pt>
                <c:pt idx="734">
                  <c:v>0.29645824223799999</c:v>
                </c:pt>
                <c:pt idx="735">
                  <c:v>0.30775862068900001</c:v>
                </c:pt>
                <c:pt idx="736">
                  <c:v>0.29653107941500001</c:v>
                </c:pt>
                <c:pt idx="737">
                  <c:v>0.30221178312699998</c:v>
                </c:pt>
                <c:pt idx="738">
                  <c:v>0.303467699348</c:v>
                </c:pt>
                <c:pt idx="739">
                  <c:v>0.237050043898</c:v>
                </c:pt>
                <c:pt idx="740">
                  <c:v>0.19948519948499999</c:v>
                </c:pt>
                <c:pt idx="741">
                  <c:v>0.27897350993300002</c:v>
                </c:pt>
                <c:pt idx="742">
                  <c:v>0.29687067294300001</c:v>
                </c:pt>
                <c:pt idx="743">
                  <c:v>0.27957452925100001</c:v>
                </c:pt>
                <c:pt idx="744">
                  <c:v>0.27937915742699998</c:v>
                </c:pt>
                <c:pt idx="745">
                  <c:v>0.27689594356199998</c:v>
                </c:pt>
                <c:pt idx="746">
                  <c:v>0.227204783258</c:v>
                </c:pt>
                <c:pt idx="747">
                  <c:v>0.22113022113</c:v>
                </c:pt>
                <c:pt idx="748">
                  <c:v>0.277399695276</c:v>
                </c:pt>
                <c:pt idx="749">
                  <c:v>0.26844955991800001</c:v>
                </c:pt>
                <c:pt idx="750">
                  <c:v>0.27800121876900002</c:v>
                </c:pt>
                <c:pt idx="751">
                  <c:v>0.25901166601100001</c:v>
                </c:pt>
                <c:pt idx="752">
                  <c:v>0.28368703656299998</c:v>
                </c:pt>
                <c:pt idx="753">
                  <c:v>0.28136073706499998</c:v>
                </c:pt>
                <c:pt idx="754">
                  <c:v>0.21131270010600001</c:v>
                </c:pt>
                <c:pt idx="755">
                  <c:v>0.31586427429300001</c:v>
                </c:pt>
                <c:pt idx="756">
                  <c:v>0.31206157443400001</c:v>
                </c:pt>
                <c:pt idx="757">
                  <c:v>0.308307692307</c:v>
                </c:pt>
                <c:pt idx="758">
                  <c:v>0.32432125411700002</c:v>
                </c:pt>
                <c:pt idx="759">
                  <c:v>0.32655257776300001</c:v>
                </c:pt>
                <c:pt idx="760">
                  <c:v>0.25838926174400001</c:v>
                </c:pt>
                <c:pt idx="761">
                  <c:v>0.25925925925900001</c:v>
                </c:pt>
                <c:pt idx="762">
                  <c:v>0.30731867950899999</c:v>
                </c:pt>
                <c:pt idx="763">
                  <c:v>0.29651956323899997</c:v>
                </c:pt>
                <c:pt idx="764">
                  <c:v>0.29753500752200002</c:v>
                </c:pt>
                <c:pt idx="765">
                  <c:v>0.29191374663000003</c:v>
                </c:pt>
                <c:pt idx="766">
                  <c:v>0.29676140118900002</c:v>
                </c:pt>
                <c:pt idx="767">
                  <c:v>0.26211180124200001</c:v>
                </c:pt>
                <c:pt idx="768">
                  <c:v>0.20897155361</c:v>
                </c:pt>
                <c:pt idx="769">
                  <c:v>0.28694968553400002</c:v>
                </c:pt>
                <c:pt idx="770">
                  <c:v>0.27858450274500002</c:v>
                </c:pt>
                <c:pt idx="771">
                  <c:v>0.227749056867</c:v>
                </c:pt>
                <c:pt idx="772">
                  <c:v>0.26904878446699998</c:v>
                </c:pt>
                <c:pt idx="773">
                  <c:v>0.24362099788700001</c:v>
                </c:pt>
                <c:pt idx="774">
                  <c:v>0.20763087843799999</c:v>
                </c:pt>
                <c:pt idx="775">
                  <c:v>0.19012345679000001</c:v>
                </c:pt>
                <c:pt idx="776">
                  <c:v>0.22788333534999999</c:v>
                </c:pt>
                <c:pt idx="777">
                  <c:v>0.220885807273</c:v>
                </c:pt>
                <c:pt idx="778">
                  <c:v>0.20086160473799999</c:v>
                </c:pt>
                <c:pt idx="779">
                  <c:v>0.2197327852</c:v>
                </c:pt>
                <c:pt idx="780">
                  <c:v>0.21855010660900001</c:v>
                </c:pt>
                <c:pt idx="781">
                  <c:v>0.176050044682</c:v>
                </c:pt>
                <c:pt idx="782">
                  <c:v>0.145333333333</c:v>
                </c:pt>
                <c:pt idx="783">
                  <c:v>0.20575821525400001</c:v>
                </c:pt>
                <c:pt idx="784">
                  <c:v>0.210028771064</c:v>
                </c:pt>
                <c:pt idx="785">
                  <c:v>0.20328884652000001</c:v>
                </c:pt>
                <c:pt idx="786">
                  <c:v>0.20099944475199999</c:v>
                </c:pt>
                <c:pt idx="787">
                  <c:v>0.17948717948699999</c:v>
                </c:pt>
                <c:pt idx="788">
                  <c:v>0.14658925979599999</c:v>
                </c:pt>
                <c:pt idx="789">
                  <c:v>0.109452736318</c:v>
                </c:pt>
                <c:pt idx="790">
                  <c:v>0.171015919908</c:v>
                </c:pt>
                <c:pt idx="791">
                  <c:v>0.176246023329</c:v>
                </c:pt>
                <c:pt idx="792">
                  <c:v>0.143505253104</c:v>
                </c:pt>
                <c:pt idx="793">
                  <c:v>0.142332674385</c:v>
                </c:pt>
                <c:pt idx="794">
                  <c:v>0.14536557282599999</c:v>
                </c:pt>
                <c:pt idx="795">
                  <c:v>0.14925373134299999</c:v>
                </c:pt>
                <c:pt idx="796">
                  <c:v>9.2715231787999994E-2</c:v>
                </c:pt>
                <c:pt idx="797">
                  <c:v>0.13593720084200001</c:v>
                </c:pt>
                <c:pt idx="798">
                  <c:v>0.13616129876899999</c:v>
                </c:pt>
                <c:pt idx="799">
                  <c:v>0.136986301369</c:v>
                </c:pt>
                <c:pt idx="800">
                  <c:v>0.13521798365099999</c:v>
                </c:pt>
                <c:pt idx="801">
                  <c:v>0.13512593601</c:v>
                </c:pt>
                <c:pt idx="802">
                  <c:v>0.135416666666</c:v>
                </c:pt>
                <c:pt idx="803">
                  <c:v>0.113861386138</c:v>
                </c:pt>
                <c:pt idx="804">
                  <c:v>0.13160710464299999</c:v>
                </c:pt>
                <c:pt idx="805">
                  <c:v>0.13087248322100001</c:v>
                </c:pt>
                <c:pt idx="806">
                  <c:v>0.12944009632699999</c:v>
                </c:pt>
                <c:pt idx="807">
                  <c:v>9.7276264591E-2</c:v>
                </c:pt>
                <c:pt idx="808">
                  <c:v>0.11180555555500001</c:v>
                </c:pt>
                <c:pt idx="809">
                  <c:v>0.12839879154</c:v>
                </c:pt>
                <c:pt idx="810">
                  <c:v>0.13267813267799999</c:v>
                </c:pt>
                <c:pt idx="811">
                  <c:v>0.124104111655</c:v>
                </c:pt>
                <c:pt idx="812">
                  <c:v>0.11544153922</c:v>
                </c:pt>
                <c:pt idx="813">
                  <c:v>0.11117349803400001</c:v>
                </c:pt>
                <c:pt idx="814">
                  <c:v>0.115559599636</c:v>
                </c:pt>
                <c:pt idx="815">
                  <c:v>0.11635423400100001</c:v>
                </c:pt>
                <c:pt idx="816">
                  <c:v>0.14031971580800001</c:v>
                </c:pt>
                <c:pt idx="817">
                  <c:v>0.11136363636299999</c:v>
                </c:pt>
                <c:pt idx="818">
                  <c:v>0.125478927203</c:v>
                </c:pt>
                <c:pt idx="819">
                  <c:v>0.13182811361899999</c:v>
                </c:pt>
                <c:pt idx="820">
                  <c:v>0.13426049745900001</c:v>
                </c:pt>
                <c:pt idx="821">
                  <c:v>0.12928529924400001</c:v>
                </c:pt>
                <c:pt idx="822">
                  <c:v>0.118869492934</c:v>
                </c:pt>
                <c:pt idx="823">
                  <c:v>0.141048824593</c:v>
                </c:pt>
                <c:pt idx="824">
                  <c:v>0.134146341463</c:v>
                </c:pt>
                <c:pt idx="825">
                  <c:v>0.11934552454199999</c:v>
                </c:pt>
                <c:pt idx="826">
                  <c:v>0.124813948543</c:v>
                </c:pt>
                <c:pt idx="827">
                  <c:v>0.12701754385899999</c:v>
                </c:pt>
                <c:pt idx="828">
                  <c:v>0.12475</c:v>
                </c:pt>
                <c:pt idx="829">
                  <c:v>0.124056366381</c:v>
                </c:pt>
                <c:pt idx="830">
                  <c:v>0.137834036568</c:v>
                </c:pt>
                <c:pt idx="831">
                  <c:v>0.116772823779</c:v>
                </c:pt>
                <c:pt idx="832">
                  <c:v>0.110992529348</c:v>
                </c:pt>
                <c:pt idx="833">
                  <c:v>0.111445783132</c:v>
                </c:pt>
                <c:pt idx="834">
                  <c:v>0.103291468168</c:v>
                </c:pt>
                <c:pt idx="835">
                  <c:v>9.6477089569000002E-2</c:v>
                </c:pt>
                <c:pt idx="836">
                  <c:v>9.2300098716000006E-2</c:v>
                </c:pt>
                <c:pt idx="837">
                  <c:v>9.9259259259000004E-2</c:v>
                </c:pt>
                <c:pt idx="838">
                  <c:v>8.1415929203000004E-2</c:v>
                </c:pt>
                <c:pt idx="839">
                  <c:v>9.0041557640999997E-2</c:v>
                </c:pt>
                <c:pt idx="840">
                  <c:v>8.7107303141E-2</c:v>
                </c:pt>
                <c:pt idx="841">
                  <c:v>8.9963833633999998E-2</c:v>
                </c:pt>
                <c:pt idx="842">
                  <c:v>7.9175974186999995E-2</c:v>
                </c:pt>
                <c:pt idx="843">
                  <c:v>8.0351333767000002E-2</c:v>
                </c:pt>
                <c:pt idx="844">
                  <c:v>7.4906367040999997E-2</c:v>
                </c:pt>
                <c:pt idx="845">
                  <c:v>7.9194630872000002E-2</c:v>
                </c:pt>
                <c:pt idx="846">
                  <c:v>6.6666666666000005E-2</c:v>
                </c:pt>
                <c:pt idx="847">
                  <c:v>7.7770973667999996E-2</c:v>
                </c:pt>
                <c:pt idx="848">
                  <c:v>8.0536912751E-2</c:v>
                </c:pt>
                <c:pt idx="849">
                  <c:v>7.7688692286000005E-2</c:v>
                </c:pt>
                <c:pt idx="850">
                  <c:v>7.4457429047999998E-2</c:v>
                </c:pt>
                <c:pt idx="851">
                  <c:v>0.117744610281</c:v>
                </c:pt>
                <c:pt idx="852">
                  <c:v>9.2979127134E-2</c:v>
                </c:pt>
                <c:pt idx="853">
                  <c:v>5.9583952450999997E-2</c:v>
                </c:pt>
                <c:pt idx="854">
                  <c:v>5.623866156E-2</c:v>
                </c:pt>
                <c:pt idx="855">
                  <c:v>5.9180576631000001E-2</c:v>
                </c:pt>
                <c:pt idx="856">
                  <c:v>5.5555555554999997E-2</c:v>
                </c:pt>
                <c:pt idx="857">
                  <c:v>5.9745347698000002E-2</c:v>
                </c:pt>
                <c:pt idx="858">
                  <c:v>7.8291814946000002E-2</c:v>
                </c:pt>
                <c:pt idx="859">
                  <c:v>5.9523809523000001E-2</c:v>
                </c:pt>
                <c:pt idx="860">
                  <c:v>5.8891992551E-2</c:v>
                </c:pt>
                <c:pt idx="861">
                  <c:v>6.1648501362000001E-2</c:v>
                </c:pt>
                <c:pt idx="862">
                  <c:v>5.7085828343000002E-2</c:v>
                </c:pt>
                <c:pt idx="863">
                  <c:v>4.7727272727000003E-2</c:v>
                </c:pt>
                <c:pt idx="864">
                  <c:v>6.2141491394999998E-2</c:v>
                </c:pt>
                <c:pt idx="865">
                  <c:v>6.1662198390999998E-2</c:v>
                </c:pt>
                <c:pt idx="866">
                  <c:v>5.0847457626999999E-2</c:v>
                </c:pt>
                <c:pt idx="867">
                  <c:v>6.1946902653999998E-2</c:v>
                </c:pt>
                <c:pt idx="868">
                  <c:v>7.0234113712000001E-2</c:v>
                </c:pt>
                <c:pt idx="869">
                  <c:v>6.8535825544999998E-2</c:v>
                </c:pt>
                <c:pt idx="870">
                  <c:v>6.5281899108999994E-2</c:v>
                </c:pt>
                <c:pt idx="871">
                  <c:v>7.2225172596000003E-2</c:v>
                </c:pt>
                <c:pt idx="872">
                  <c:v>7.2164948453000005E-2</c:v>
                </c:pt>
                <c:pt idx="873">
                  <c:v>9.5744680851000005E-2</c:v>
                </c:pt>
                <c:pt idx="874">
                  <c:v>5.8749999999999997E-2</c:v>
                </c:pt>
                <c:pt idx="875">
                  <c:v>7.0976491862000002E-2</c:v>
                </c:pt>
                <c:pt idx="876">
                  <c:v>7.4056603772999996E-2</c:v>
                </c:pt>
                <c:pt idx="877">
                  <c:v>7.0473251028000006E-2</c:v>
                </c:pt>
                <c:pt idx="878">
                  <c:v>7.6175869120000003E-2</c:v>
                </c:pt>
                <c:pt idx="879">
                  <c:v>5.7239057239000003E-2</c:v>
                </c:pt>
                <c:pt idx="880">
                  <c:v>9.5617529879999996E-2</c:v>
                </c:pt>
                <c:pt idx="881">
                  <c:v>8.0598733448000004E-2</c:v>
                </c:pt>
                <c:pt idx="882">
                  <c:v>9.2762894841999996E-2</c:v>
                </c:pt>
                <c:pt idx="883">
                  <c:v>8.8991986502999998E-2</c:v>
                </c:pt>
                <c:pt idx="884">
                  <c:v>8.9976689976000002E-2</c:v>
                </c:pt>
                <c:pt idx="885">
                  <c:v>0.105394605394</c:v>
                </c:pt>
                <c:pt idx="886">
                  <c:v>0.11621621621600001</c:v>
                </c:pt>
                <c:pt idx="887">
                  <c:v>7.6923076923000003E-2</c:v>
                </c:pt>
                <c:pt idx="888">
                  <c:v>0.124832214765</c:v>
                </c:pt>
                <c:pt idx="889">
                  <c:v>0.125858123569</c:v>
                </c:pt>
                <c:pt idx="890">
                  <c:v>0.114479457518</c:v>
                </c:pt>
                <c:pt idx="891">
                  <c:v>0.115233522479</c:v>
                </c:pt>
                <c:pt idx="892">
                  <c:v>0.13256484149799999</c:v>
                </c:pt>
                <c:pt idx="893">
                  <c:v>0.157276995305</c:v>
                </c:pt>
                <c:pt idx="894">
                  <c:v>0.12543554006900001</c:v>
                </c:pt>
                <c:pt idx="895">
                  <c:v>0.140972069496</c:v>
                </c:pt>
                <c:pt idx="896">
                  <c:v>0.149146451033</c:v>
                </c:pt>
                <c:pt idx="897">
                  <c:v>0.15724092840699999</c:v>
                </c:pt>
                <c:pt idx="898">
                  <c:v>0.149861878453</c:v>
                </c:pt>
                <c:pt idx="899">
                  <c:v>0.158769448373</c:v>
                </c:pt>
                <c:pt idx="900">
                  <c:v>0.16317016316999999</c:v>
                </c:pt>
                <c:pt idx="901">
                  <c:v>0.15625</c:v>
                </c:pt>
                <c:pt idx="902">
                  <c:v>0.15873936581500001</c:v>
                </c:pt>
                <c:pt idx="903">
                  <c:v>0.17618927762299999</c:v>
                </c:pt>
                <c:pt idx="904">
                  <c:v>0.168536009445</c:v>
                </c:pt>
                <c:pt idx="905">
                  <c:v>0.17838340043299999</c:v>
                </c:pt>
                <c:pt idx="906">
                  <c:v>0.17936453706800001</c:v>
                </c:pt>
                <c:pt idx="907">
                  <c:v>0.21391752577299999</c:v>
                </c:pt>
                <c:pt idx="908">
                  <c:v>0.233333333332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ED-4E60-A83A-846A1D53BB8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pidemiologicky indikované testy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trendline>
            <c:spPr>
              <a:ln w="25400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Sheet1!$A$2:$A$910</c:f>
              <c:numCache>
                <c:formatCode>m/d/yyyy</c:formatCode>
                <c:ptCount val="909"/>
                <c:pt idx="0">
                  <c:v>44075</c:v>
                </c:pt>
                <c:pt idx="1">
                  <c:v>44076</c:v>
                </c:pt>
                <c:pt idx="2">
                  <c:v>44077</c:v>
                </c:pt>
                <c:pt idx="3">
                  <c:v>44078</c:v>
                </c:pt>
                <c:pt idx="4">
                  <c:v>44079</c:v>
                </c:pt>
                <c:pt idx="5">
                  <c:v>44080</c:v>
                </c:pt>
                <c:pt idx="6">
                  <c:v>44081</c:v>
                </c:pt>
                <c:pt idx="7">
                  <c:v>44082</c:v>
                </c:pt>
                <c:pt idx="8">
                  <c:v>44083</c:v>
                </c:pt>
                <c:pt idx="9">
                  <c:v>44084</c:v>
                </c:pt>
                <c:pt idx="10">
                  <c:v>44085</c:v>
                </c:pt>
                <c:pt idx="11">
                  <c:v>44086</c:v>
                </c:pt>
                <c:pt idx="12">
                  <c:v>44087</c:v>
                </c:pt>
                <c:pt idx="13">
                  <c:v>44088</c:v>
                </c:pt>
                <c:pt idx="14">
                  <c:v>44089</c:v>
                </c:pt>
                <c:pt idx="15">
                  <c:v>44090</c:v>
                </c:pt>
                <c:pt idx="16">
                  <c:v>44091</c:v>
                </c:pt>
                <c:pt idx="17">
                  <c:v>44092</c:v>
                </c:pt>
                <c:pt idx="18">
                  <c:v>44093</c:v>
                </c:pt>
                <c:pt idx="19">
                  <c:v>44094</c:v>
                </c:pt>
                <c:pt idx="20">
                  <c:v>44095</c:v>
                </c:pt>
                <c:pt idx="21">
                  <c:v>44096</c:v>
                </c:pt>
                <c:pt idx="22">
                  <c:v>44097</c:v>
                </c:pt>
                <c:pt idx="23">
                  <c:v>44098</c:v>
                </c:pt>
                <c:pt idx="24">
                  <c:v>44099</c:v>
                </c:pt>
                <c:pt idx="25">
                  <c:v>44100</c:v>
                </c:pt>
                <c:pt idx="26">
                  <c:v>44101</c:v>
                </c:pt>
                <c:pt idx="27">
                  <c:v>44102</c:v>
                </c:pt>
                <c:pt idx="28">
                  <c:v>44103</c:v>
                </c:pt>
                <c:pt idx="29">
                  <c:v>44104</c:v>
                </c:pt>
                <c:pt idx="30">
                  <c:v>44105</c:v>
                </c:pt>
                <c:pt idx="31">
                  <c:v>44106</c:v>
                </c:pt>
                <c:pt idx="32">
                  <c:v>44107</c:v>
                </c:pt>
                <c:pt idx="33">
                  <c:v>44108</c:v>
                </c:pt>
                <c:pt idx="34">
                  <c:v>44109</c:v>
                </c:pt>
                <c:pt idx="35">
                  <c:v>44110</c:v>
                </c:pt>
                <c:pt idx="36">
                  <c:v>44111</c:v>
                </c:pt>
                <c:pt idx="37">
                  <c:v>44112</c:v>
                </c:pt>
                <c:pt idx="38">
                  <c:v>44113</c:v>
                </c:pt>
                <c:pt idx="39">
                  <c:v>44114</c:v>
                </c:pt>
                <c:pt idx="40">
                  <c:v>44115</c:v>
                </c:pt>
                <c:pt idx="41">
                  <c:v>44116</c:v>
                </c:pt>
                <c:pt idx="42">
                  <c:v>44117</c:v>
                </c:pt>
                <c:pt idx="43">
                  <c:v>44118</c:v>
                </c:pt>
                <c:pt idx="44">
                  <c:v>44119</c:v>
                </c:pt>
                <c:pt idx="45">
                  <c:v>44120</c:v>
                </c:pt>
                <c:pt idx="46">
                  <c:v>44121</c:v>
                </c:pt>
                <c:pt idx="47">
                  <c:v>44122</c:v>
                </c:pt>
                <c:pt idx="48">
                  <c:v>44123</c:v>
                </c:pt>
                <c:pt idx="49">
                  <c:v>44124</c:v>
                </c:pt>
                <c:pt idx="50">
                  <c:v>44125</c:v>
                </c:pt>
                <c:pt idx="51">
                  <c:v>44126</c:v>
                </c:pt>
                <c:pt idx="52">
                  <c:v>44127</c:v>
                </c:pt>
                <c:pt idx="53">
                  <c:v>44128</c:v>
                </c:pt>
                <c:pt idx="54">
                  <c:v>44129</c:v>
                </c:pt>
                <c:pt idx="55">
                  <c:v>44130</c:v>
                </c:pt>
                <c:pt idx="56">
                  <c:v>44131</c:v>
                </c:pt>
                <c:pt idx="57">
                  <c:v>44132</c:v>
                </c:pt>
                <c:pt idx="58">
                  <c:v>44133</c:v>
                </c:pt>
                <c:pt idx="59">
                  <c:v>44134</c:v>
                </c:pt>
                <c:pt idx="60">
                  <c:v>44135</c:v>
                </c:pt>
                <c:pt idx="61">
                  <c:v>44136</c:v>
                </c:pt>
                <c:pt idx="62">
                  <c:v>44137</c:v>
                </c:pt>
                <c:pt idx="63">
                  <c:v>44138</c:v>
                </c:pt>
                <c:pt idx="64">
                  <c:v>44139</c:v>
                </c:pt>
                <c:pt idx="65">
                  <c:v>44140</c:v>
                </c:pt>
                <c:pt idx="66">
                  <c:v>44141</c:v>
                </c:pt>
                <c:pt idx="67">
                  <c:v>44142</c:v>
                </c:pt>
                <c:pt idx="68">
                  <c:v>44143</c:v>
                </c:pt>
                <c:pt idx="69">
                  <c:v>44144</c:v>
                </c:pt>
                <c:pt idx="70">
                  <c:v>44145</c:v>
                </c:pt>
                <c:pt idx="71">
                  <c:v>44146</c:v>
                </c:pt>
                <c:pt idx="72">
                  <c:v>44147</c:v>
                </c:pt>
                <c:pt idx="73">
                  <c:v>44148</c:v>
                </c:pt>
                <c:pt idx="74">
                  <c:v>44149</c:v>
                </c:pt>
                <c:pt idx="75">
                  <c:v>44150</c:v>
                </c:pt>
                <c:pt idx="76">
                  <c:v>44151</c:v>
                </c:pt>
                <c:pt idx="77">
                  <c:v>44152</c:v>
                </c:pt>
                <c:pt idx="78">
                  <c:v>44153</c:v>
                </c:pt>
                <c:pt idx="79">
                  <c:v>44154</c:v>
                </c:pt>
                <c:pt idx="80">
                  <c:v>44155</c:v>
                </c:pt>
                <c:pt idx="81">
                  <c:v>44156</c:v>
                </c:pt>
                <c:pt idx="82">
                  <c:v>44157</c:v>
                </c:pt>
                <c:pt idx="83">
                  <c:v>44158</c:v>
                </c:pt>
                <c:pt idx="84">
                  <c:v>44159</c:v>
                </c:pt>
                <c:pt idx="85">
                  <c:v>44160</c:v>
                </c:pt>
                <c:pt idx="86">
                  <c:v>44161</c:v>
                </c:pt>
                <c:pt idx="87">
                  <c:v>44162</c:v>
                </c:pt>
                <c:pt idx="88">
                  <c:v>44163</c:v>
                </c:pt>
                <c:pt idx="89">
                  <c:v>44164</c:v>
                </c:pt>
                <c:pt idx="90">
                  <c:v>44165</c:v>
                </c:pt>
                <c:pt idx="91">
                  <c:v>44166</c:v>
                </c:pt>
                <c:pt idx="92">
                  <c:v>44167</c:v>
                </c:pt>
                <c:pt idx="93">
                  <c:v>44168</c:v>
                </c:pt>
                <c:pt idx="94">
                  <c:v>44169</c:v>
                </c:pt>
                <c:pt idx="95">
                  <c:v>44170</c:v>
                </c:pt>
                <c:pt idx="96">
                  <c:v>44171</c:v>
                </c:pt>
                <c:pt idx="97">
                  <c:v>44172</c:v>
                </c:pt>
                <c:pt idx="98">
                  <c:v>44173</c:v>
                </c:pt>
                <c:pt idx="99">
                  <c:v>44174</c:v>
                </c:pt>
                <c:pt idx="100">
                  <c:v>44175</c:v>
                </c:pt>
                <c:pt idx="101">
                  <c:v>44176</c:v>
                </c:pt>
                <c:pt idx="102">
                  <c:v>44177</c:v>
                </c:pt>
                <c:pt idx="103">
                  <c:v>44178</c:v>
                </c:pt>
                <c:pt idx="104">
                  <c:v>44179</c:v>
                </c:pt>
                <c:pt idx="105">
                  <c:v>44180</c:v>
                </c:pt>
                <c:pt idx="106">
                  <c:v>44181</c:v>
                </c:pt>
                <c:pt idx="107">
                  <c:v>44182</c:v>
                </c:pt>
                <c:pt idx="108">
                  <c:v>44183</c:v>
                </c:pt>
                <c:pt idx="109">
                  <c:v>44184</c:v>
                </c:pt>
                <c:pt idx="110">
                  <c:v>44185</c:v>
                </c:pt>
                <c:pt idx="111">
                  <c:v>44186</c:v>
                </c:pt>
                <c:pt idx="112">
                  <c:v>44187</c:v>
                </c:pt>
                <c:pt idx="113">
                  <c:v>44188</c:v>
                </c:pt>
                <c:pt idx="114">
                  <c:v>44189</c:v>
                </c:pt>
                <c:pt idx="115">
                  <c:v>44190</c:v>
                </c:pt>
                <c:pt idx="116">
                  <c:v>44191</c:v>
                </c:pt>
                <c:pt idx="117">
                  <c:v>44192</c:v>
                </c:pt>
                <c:pt idx="118">
                  <c:v>44193</c:v>
                </c:pt>
                <c:pt idx="119">
                  <c:v>44194</c:v>
                </c:pt>
                <c:pt idx="120">
                  <c:v>44195</c:v>
                </c:pt>
                <c:pt idx="121">
                  <c:v>44196</c:v>
                </c:pt>
                <c:pt idx="122">
                  <c:v>44197</c:v>
                </c:pt>
                <c:pt idx="123">
                  <c:v>44198</c:v>
                </c:pt>
                <c:pt idx="124">
                  <c:v>44199</c:v>
                </c:pt>
                <c:pt idx="125">
                  <c:v>44200</c:v>
                </c:pt>
                <c:pt idx="126">
                  <c:v>44201</c:v>
                </c:pt>
                <c:pt idx="127">
                  <c:v>44202</c:v>
                </c:pt>
                <c:pt idx="128">
                  <c:v>44203</c:v>
                </c:pt>
                <c:pt idx="129">
                  <c:v>44204</c:v>
                </c:pt>
                <c:pt idx="130">
                  <c:v>44205</c:v>
                </c:pt>
                <c:pt idx="131">
                  <c:v>44206</c:v>
                </c:pt>
                <c:pt idx="132">
                  <c:v>44207</c:v>
                </c:pt>
                <c:pt idx="133">
                  <c:v>44208</c:v>
                </c:pt>
                <c:pt idx="134">
                  <c:v>44209</c:v>
                </c:pt>
                <c:pt idx="135">
                  <c:v>44210</c:v>
                </c:pt>
                <c:pt idx="136">
                  <c:v>44211</c:v>
                </c:pt>
                <c:pt idx="137">
                  <c:v>44212</c:v>
                </c:pt>
                <c:pt idx="138">
                  <c:v>44213</c:v>
                </c:pt>
                <c:pt idx="139">
                  <c:v>44214</c:v>
                </c:pt>
                <c:pt idx="140">
                  <c:v>44215</c:v>
                </c:pt>
                <c:pt idx="141">
                  <c:v>44216</c:v>
                </c:pt>
                <c:pt idx="142">
                  <c:v>44217</c:v>
                </c:pt>
                <c:pt idx="143">
                  <c:v>44218</c:v>
                </c:pt>
                <c:pt idx="144">
                  <c:v>44219</c:v>
                </c:pt>
                <c:pt idx="145">
                  <c:v>44220</c:v>
                </c:pt>
                <c:pt idx="146">
                  <c:v>44221</c:v>
                </c:pt>
                <c:pt idx="147">
                  <c:v>44222</c:v>
                </c:pt>
                <c:pt idx="148">
                  <c:v>44223</c:v>
                </c:pt>
                <c:pt idx="149">
                  <c:v>44224</c:v>
                </c:pt>
                <c:pt idx="150">
                  <c:v>44225</c:v>
                </c:pt>
                <c:pt idx="151">
                  <c:v>44226</c:v>
                </c:pt>
                <c:pt idx="152">
                  <c:v>44227</c:v>
                </c:pt>
                <c:pt idx="153">
                  <c:v>44228</c:v>
                </c:pt>
                <c:pt idx="154">
                  <c:v>44229</c:v>
                </c:pt>
                <c:pt idx="155">
                  <c:v>44230</c:v>
                </c:pt>
                <c:pt idx="156">
                  <c:v>44231</c:v>
                </c:pt>
                <c:pt idx="157">
                  <c:v>44232</c:v>
                </c:pt>
                <c:pt idx="158">
                  <c:v>44233</c:v>
                </c:pt>
                <c:pt idx="159">
                  <c:v>44234</c:v>
                </c:pt>
                <c:pt idx="160">
                  <c:v>44235</c:v>
                </c:pt>
                <c:pt idx="161">
                  <c:v>44236</c:v>
                </c:pt>
                <c:pt idx="162">
                  <c:v>44237</c:v>
                </c:pt>
                <c:pt idx="163">
                  <c:v>44238</c:v>
                </c:pt>
                <c:pt idx="164">
                  <c:v>44239</c:v>
                </c:pt>
                <c:pt idx="165">
                  <c:v>44240</c:v>
                </c:pt>
                <c:pt idx="166">
                  <c:v>44241</c:v>
                </c:pt>
                <c:pt idx="167">
                  <c:v>44242</c:v>
                </c:pt>
                <c:pt idx="168">
                  <c:v>44243</c:v>
                </c:pt>
                <c:pt idx="169">
                  <c:v>44244</c:v>
                </c:pt>
                <c:pt idx="170">
                  <c:v>44245</c:v>
                </c:pt>
                <c:pt idx="171">
                  <c:v>44246</c:v>
                </c:pt>
                <c:pt idx="172">
                  <c:v>44247</c:v>
                </c:pt>
                <c:pt idx="173">
                  <c:v>44248</c:v>
                </c:pt>
                <c:pt idx="174">
                  <c:v>44249</c:v>
                </c:pt>
                <c:pt idx="175">
                  <c:v>44250</c:v>
                </c:pt>
                <c:pt idx="176">
                  <c:v>44251</c:v>
                </c:pt>
                <c:pt idx="177">
                  <c:v>44252</c:v>
                </c:pt>
                <c:pt idx="178">
                  <c:v>44253</c:v>
                </c:pt>
                <c:pt idx="179">
                  <c:v>44254</c:v>
                </c:pt>
                <c:pt idx="180">
                  <c:v>44255</c:v>
                </c:pt>
                <c:pt idx="181">
                  <c:v>44256</c:v>
                </c:pt>
                <c:pt idx="182">
                  <c:v>44257</c:v>
                </c:pt>
                <c:pt idx="183">
                  <c:v>44258</c:v>
                </c:pt>
                <c:pt idx="184">
                  <c:v>44259</c:v>
                </c:pt>
                <c:pt idx="185">
                  <c:v>44260</c:v>
                </c:pt>
                <c:pt idx="186">
                  <c:v>44261</c:v>
                </c:pt>
                <c:pt idx="187">
                  <c:v>44262</c:v>
                </c:pt>
                <c:pt idx="188">
                  <c:v>44263</c:v>
                </c:pt>
                <c:pt idx="189">
                  <c:v>44264</c:v>
                </c:pt>
                <c:pt idx="190">
                  <c:v>44265</c:v>
                </c:pt>
                <c:pt idx="191">
                  <c:v>44266</c:v>
                </c:pt>
                <c:pt idx="192">
                  <c:v>44267</c:v>
                </c:pt>
                <c:pt idx="193">
                  <c:v>44268</c:v>
                </c:pt>
                <c:pt idx="194">
                  <c:v>44269</c:v>
                </c:pt>
                <c:pt idx="195">
                  <c:v>44270</c:v>
                </c:pt>
                <c:pt idx="196">
                  <c:v>44271</c:v>
                </c:pt>
                <c:pt idx="197">
                  <c:v>44272</c:v>
                </c:pt>
                <c:pt idx="198">
                  <c:v>44273</c:v>
                </c:pt>
                <c:pt idx="199">
                  <c:v>44274</c:v>
                </c:pt>
                <c:pt idx="200">
                  <c:v>44275</c:v>
                </c:pt>
                <c:pt idx="201">
                  <c:v>44276</c:v>
                </c:pt>
                <c:pt idx="202">
                  <c:v>44277</c:v>
                </c:pt>
                <c:pt idx="203">
                  <c:v>44278</c:v>
                </c:pt>
                <c:pt idx="204">
                  <c:v>44279</c:v>
                </c:pt>
                <c:pt idx="205">
                  <c:v>44280</c:v>
                </c:pt>
                <c:pt idx="206">
                  <c:v>44281</c:v>
                </c:pt>
                <c:pt idx="207">
                  <c:v>44282</c:v>
                </c:pt>
                <c:pt idx="208">
                  <c:v>44283</c:v>
                </c:pt>
                <c:pt idx="209">
                  <c:v>44284</c:v>
                </c:pt>
                <c:pt idx="210">
                  <c:v>44285</c:v>
                </c:pt>
                <c:pt idx="211">
                  <c:v>44286</c:v>
                </c:pt>
                <c:pt idx="212">
                  <c:v>44287</c:v>
                </c:pt>
                <c:pt idx="213">
                  <c:v>44288</c:v>
                </c:pt>
                <c:pt idx="214">
                  <c:v>44289</c:v>
                </c:pt>
                <c:pt idx="215">
                  <c:v>44290</c:v>
                </c:pt>
                <c:pt idx="216">
                  <c:v>44291</c:v>
                </c:pt>
                <c:pt idx="217">
                  <c:v>44292</c:v>
                </c:pt>
                <c:pt idx="218">
                  <c:v>44293</c:v>
                </c:pt>
                <c:pt idx="219">
                  <c:v>44294</c:v>
                </c:pt>
                <c:pt idx="220">
                  <c:v>44295</c:v>
                </c:pt>
                <c:pt idx="221">
                  <c:v>44296</c:v>
                </c:pt>
                <c:pt idx="222">
                  <c:v>44297</c:v>
                </c:pt>
                <c:pt idx="223">
                  <c:v>44298</c:v>
                </c:pt>
                <c:pt idx="224">
                  <c:v>44299</c:v>
                </c:pt>
                <c:pt idx="225">
                  <c:v>44300</c:v>
                </c:pt>
                <c:pt idx="226">
                  <c:v>44301</c:v>
                </c:pt>
                <c:pt idx="227">
                  <c:v>44302</c:v>
                </c:pt>
                <c:pt idx="228">
                  <c:v>44303</c:v>
                </c:pt>
                <c:pt idx="229">
                  <c:v>44304</c:v>
                </c:pt>
                <c:pt idx="230">
                  <c:v>44305</c:v>
                </c:pt>
                <c:pt idx="231">
                  <c:v>44306</c:v>
                </c:pt>
                <c:pt idx="232">
                  <c:v>44307</c:v>
                </c:pt>
                <c:pt idx="233">
                  <c:v>44308</c:v>
                </c:pt>
                <c:pt idx="234">
                  <c:v>44309</c:v>
                </c:pt>
                <c:pt idx="235">
                  <c:v>44310</c:v>
                </c:pt>
                <c:pt idx="236">
                  <c:v>44311</c:v>
                </c:pt>
                <c:pt idx="237">
                  <c:v>44312</c:v>
                </c:pt>
                <c:pt idx="238">
                  <c:v>44313</c:v>
                </c:pt>
                <c:pt idx="239">
                  <c:v>44314</c:v>
                </c:pt>
                <c:pt idx="240">
                  <c:v>44315</c:v>
                </c:pt>
                <c:pt idx="241">
                  <c:v>44316</c:v>
                </c:pt>
                <c:pt idx="242">
                  <c:v>44317</c:v>
                </c:pt>
                <c:pt idx="243">
                  <c:v>44318</c:v>
                </c:pt>
                <c:pt idx="244">
                  <c:v>44319</c:v>
                </c:pt>
                <c:pt idx="245">
                  <c:v>44320</c:v>
                </c:pt>
                <c:pt idx="246">
                  <c:v>44321</c:v>
                </c:pt>
                <c:pt idx="247">
                  <c:v>44322</c:v>
                </c:pt>
                <c:pt idx="248">
                  <c:v>44323</c:v>
                </c:pt>
                <c:pt idx="249">
                  <c:v>44324</c:v>
                </c:pt>
                <c:pt idx="250">
                  <c:v>44325</c:v>
                </c:pt>
                <c:pt idx="251">
                  <c:v>44326</c:v>
                </c:pt>
                <c:pt idx="252">
                  <c:v>44327</c:v>
                </c:pt>
                <c:pt idx="253">
                  <c:v>44328</c:v>
                </c:pt>
                <c:pt idx="254">
                  <c:v>44329</c:v>
                </c:pt>
                <c:pt idx="255">
                  <c:v>44330</c:v>
                </c:pt>
                <c:pt idx="256">
                  <c:v>44331</c:v>
                </c:pt>
                <c:pt idx="257">
                  <c:v>44332</c:v>
                </c:pt>
                <c:pt idx="258">
                  <c:v>44333</c:v>
                </c:pt>
                <c:pt idx="259">
                  <c:v>44334</c:v>
                </c:pt>
                <c:pt idx="260">
                  <c:v>44335</c:v>
                </c:pt>
                <c:pt idx="261">
                  <c:v>44336</c:v>
                </c:pt>
                <c:pt idx="262">
                  <c:v>44337</c:v>
                </c:pt>
                <c:pt idx="263">
                  <c:v>44338</c:v>
                </c:pt>
                <c:pt idx="264">
                  <c:v>44339</c:v>
                </c:pt>
                <c:pt idx="265">
                  <c:v>44340</c:v>
                </c:pt>
                <c:pt idx="266">
                  <c:v>44341</c:v>
                </c:pt>
                <c:pt idx="267">
                  <c:v>44342</c:v>
                </c:pt>
                <c:pt idx="268">
                  <c:v>44343</c:v>
                </c:pt>
                <c:pt idx="269">
                  <c:v>44344</c:v>
                </c:pt>
                <c:pt idx="270">
                  <c:v>44345</c:v>
                </c:pt>
                <c:pt idx="271">
                  <c:v>44346</c:v>
                </c:pt>
                <c:pt idx="272">
                  <c:v>44347</c:v>
                </c:pt>
                <c:pt idx="273">
                  <c:v>44348</c:v>
                </c:pt>
                <c:pt idx="274">
                  <c:v>44349</c:v>
                </c:pt>
                <c:pt idx="275">
                  <c:v>44350</c:v>
                </c:pt>
                <c:pt idx="276">
                  <c:v>44351</c:v>
                </c:pt>
                <c:pt idx="277">
                  <c:v>44352</c:v>
                </c:pt>
                <c:pt idx="278">
                  <c:v>44353</c:v>
                </c:pt>
                <c:pt idx="279">
                  <c:v>44354</c:v>
                </c:pt>
                <c:pt idx="280">
                  <c:v>44355</c:v>
                </c:pt>
                <c:pt idx="281">
                  <c:v>44356</c:v>
                </c:pt>
                <c:pt idx="282">
                  <c:v>44357</c:v>
                </c:pt>
                <c:pt idx="283">
                  <c:v>44358</c:v>
                </c:pt>
                <c:pt idx="284">
                  <c:v>44359</c:v>
                </c:pt>
                <c:pt idx="285">
                  <c:v>44360</c:v>
                </c:pt>
                <c:pt idx="286">
                  <c:v>44361</c:v>
                </c:pt>
                <c:pt idx="287">
                  <c:v>44362</c:v>
                </c:pt>
                <c:pt idx="288">
                  <c:v>44363</c:v>
                </c:pt>
                <c:pt idx="289">
                  <c:v>44364</c:v>
                </c:pt>
                <c:pt idx="290">
                  <c:v>44365</c:v>
                </c:pt>
                <c:pt idx="291">
                  <c:v>44366</c:v>
                </c:pt>
                <c:pt idx="292">
                  <c:v>44367</c:v>
                </c:pt>
                <c:pt idx="293">
                  <c:v>44368</c:v>
                </c:pt>
                <c:pt idx="294">
                  <c:v>44369</c:v>
                </c:pt>
                <c:pt idx="295">
                  <c:v>44370</c:v>
                </c:pt>
                <c:pt idx="296">
                  <c:v>44371</c:v>
                </c:pt>
                <c:pt idx="297">
                  <c:v>44372</c:v>
                </c:pt>
                <c:pt idx="298">
                  <c:v>44373</c:v>
                </c:pt>
                <c:pt idx="299">
                  <c:v>44374</c:v>
                </c:pt>
                <c:pt idx="300">
                  <c:v>44375</c:v>
                </c:pt>
                <c:pt idx="301">
                  <c:v>44376</c:v>
                </c:pt>
                <c:pt idx="302">
                  <c:v>44377</c:v>
                </c:pt>
                <c:pt idx="303">
                  <c:v>44378</c:v>
                </c:pt>
                <c:pt idx="304">
                  <c:v>44379</c:v>
                </c:pt>
                <c:pt idx="305">
                  <c:v>44380</c:v>
                </c:pt>
                <c:pt idx="306">
                  <c:v>44381</c:v>
                </c:pt>
                <c:pt idx="307">
                  <c:v>44382</c:v>
                </c:pt>
                <c:pt idx="308">
                  <c:v>44383</c:v>
                </c:pt>
                <c:pt idx="309">
                  <c:v>44384</c:v>
                </c:pt>
                <c:pt idx="310">
                  <c:v>44385</c:v>
                </c:pt>
                <c:pt idx="311">
                  <c:v>44386</c:v>
                </c:pt>
                <c:pt idx="312">
                  <c:v>44387</c:v>
                </c:pt>
                <c:pt idx="313">
                  <c:v>44388</c:v>
                </c:pt>
                <c:pt idx="314">
                  <c:v>44389</c:v>
                </c:pt>
                <c:pt idx="315">
                  <c:v>44390</c:v>
                </c:pt>
                <c:pt idx="316">
                  <c:v>44391</c:v>
                </c:pt>
                <c:pt idx="317">
                  <c:v>44392</c:v>
                </c:pt>
                <c:pt idx="318">
                  <c:v>44393</c:v>
                </c:pt>
                <c:pt idx="319">
                  <c:v>44394</c:v>
                </c:pt>
                <c:pt idx="320">
                  <c:v>44395</c:v>
                </c:pt>
                <c:pt idx="321">
                  <c:v>44396</c:v>
                </c:pt>
                <c:pt idx="322">
                  <c:v>44397</c:v>
                </c:pt>
                <c:pt idx="323">
                  <c:v>44398</c:v>
                </c:pt>
                <c:pt idx="324">
                  <c:v>44399</c:v>
                </c:pt>
                <c:pt idx="325">
                  <c:v>44400</c:v>
                </c:pt>
                <c:pt idx="326">
                  <c:v>44401</c:v>
                </c:pt>
                <c:pt idx="327">
                  <c:v>44402</c:v>
                </c:pt>
                <c:pt idx="328">
                  <c:v>44403</c:v>
                </c:pt>
                <c:pt idx="329">
                  <c:v>44404</c:v>
                </c:pt>
                <c:pt idx="330">
                  <c:v>44405</c:v>
                </c:pt>
                <c:pt idx="331">
                  <c:v>44406</c:v>
                </c:pt>
                <c:pt idx="332">
                  <c:v>44407</c:v>
                </c:pt>
                <c:pt idx="333">
                  <c:v>44408</c:v>
                </c:pt>
                <c:pt idx="334">
                  <c:v>44409</c:v>
                </c:pt>
                <c:pt idx="335">
                  <c:v>44410</c:v>
                </c:pt>
                <c:pt idx="336">
                  <c:v>44411</c:v>
                </c:pt>
                <c:pt idx="337">
                  <c:v>44412</c:v>
                </c:pt>
                <c:pt idx="338">
                  <c:v>44413</c:v>
                </c:pt>
                <c:pt idx="339">
                  <c:v>44414</c:v>
                </c:pt>
                <c:pt idx="340">
                  <c:v>44415</c:v>
                </c:pt>
                <c:pt idx="341">
                  <c:v>44416</c:v>
                </c:pt>
                <c:pt idx="342">
                  <c:v>44417</c:v>
                </c:pt>
                <c:pt idx="343">
                  <c:v>44418</c:v>
                </c:pt>
                <c:pt idx="344">
                  <c:v>44419</c:v>
                </c:pt>
                <c:pt idx="345">
                  <c:v>44420</c:v>
                </c:pt>
                <c:pt idx="346">
                  <c:v>44421</c:v>
                </c:pt>
                <c:pt idx="347">
                  <c:v>44422</c:v>
                </c:pt>
                <c:pt idx="348">
                  <c:v>44423</c:v>
                </c:pt>
                <c:pt idx="349">
                  <c:v>44424</c:v>
                </c:pt>
                <c:pt idx="350">
                  <c:v>44425</c:v>
                </c:pt>
                <c:pt idx="351">
                  <c:v>44426</c:v>
                </c:pt>
                <c:pt idx="352">
                  <c:v>44427</c:v>
                </c:pt>
                <c:pt idx="353">
                  <c:v>44428</c:v>
                </c:pt>
                <c:pt idx="354">
                  <c:v>44429</c:v>
                </c:pt>
                <c:pt idx="355">
                  <c:v>44430</c:v>
                </c:pt>
                <c:pt idx="356">
                  <c:v>44431</c:v>
                </c:pt>
                <c:pt idx="357">
                  <c:v>44432</c:v>
                </c:pt>
                <c:pt idx="358">
                  <c:v>44433</c:v>
                </c:pt>
                <c:pt idx="359">
                  <c:v>44434</c:v>
                </c:pt>
                <c:pt idx="360">
                  <c:v>44435</c:v>
                </c:pt>
                <c:pt idx="361">
                  <c:v>44436</c:v>
                </c:pt>
                <c:pt idx="362">
                  <c:v>44437</c:v>
                </c:pt>
                <c:pt idx="363">
                  <c:v>44438</c:v>
                </c:pt>
                <c:pt idx="364">
                  <c:v>44439</c:v>
                </c:pt>
                <c:pt idx="365">
                  <c:v>44440</c:v>
                </c:pt>
                <c:pt idx="366">
                  <c:v>44441</c:v>
                </c:pt>
                <c:pt idx="367">
                  <c:v>44442</c:v>
                </c:pt>
                <c:pt idx="368">
                  <c:v>44443</c:v>
                </c:pt>
                <c:pt idx="369">
                  <c:v>44444</c:v>
                </c:pt>
                <c:pt idx="370">
                  <c:v>44445</c:v>
                </c:pt>
                <c:pt idx="371">
                  <c:v>44446</c:v>
                </c:pt>
                <c:pt idx="372">
                  <c:v>44447</c:v>
                </c:pt>
                <c:pt idx="373">
                  <c:v>44448</c:v>
                </c:pt>
                <c:pt idx="374">
                  <c:v>44449</c:v>
                </c:pt>
                <c:pt idx="375">
                  <c:v>44450</c:v>
                </c:pt>
                <c:pt idx="376">
                  <c:v>44451</c:v>
                </c:pt>
                <c:pt idx="377">
                  <c:v>44452</c:v>
                </c:pt>
                <c:pt idx="378">
                  <c:v>44453</c:v>
                </c:pt>
                <c:pt idx="379">
                  <c:v>44454</c:v>
                </c:pt>
                <c:pt idx="380">
                  <c:v>44455</c:v>
                </c:pt>
                <c:pt idx="381">
                  <c:v>44456</c:v>
                </c:pt>
                <c:pt idx="382">
                  <c:v>44457</c:v>
                </c:pt>
                <c:pt idx="383">
                  <c:v>44458</c:v>
                </c:pt>
                <c:pt idx="384">
                  <c:v>44459</c:v>
                </c:pt>
                <c:pt idx="385">
                  <c:v>44460</c:v>
                </c:pt>
                <c:pt idx="386">
                  <c:v>44461</c:v>
                </c:pt>
                <c:pt idx="387">
                  <c:v>44462</c:v>
                </c:pt>
                <c:pt idx="388">
                  <c:v>44463</c:v>
                </c:pt>
                <c:pt idx="389">
                  <c:v>44464</c:v>
                </c:pt>
                <c:pt idx="390">
                  <c:v>44465</c:v>
                </c:pt>
                <c:pt idx="391">
                  <c:v>44466</c:v>
                </c:pt>
                <c:pt idx="392">
                  <c:v>44467</c:v>
                </c:pt>
                <c:pt idx="393">
                  <c:v>44468</c:v>
                </c:pt>
                <c:pt idx="394">
                  <c:v>44469</c:v>
                </c:pt>
                <c:pt idx="395">
                  <c:v>44470</c:v>
                </c:pt>
                <c:pt idx="396">
                  <c:v>44471</c:v>
                </c:pt>
                <c:pt idx="397">
                  <c:v>44472</c:v>
                </c:pt>
                <c:pt idx="398">
                  <c:v>44473</c:v>
                </c:pt>
                <c:pt idx="399">
                  <c:v>44474</c:v>
                </c:pt>
                <c:pt idx="400">
                  <c:v>44475</c:v>
                </c:pt>
                <c:pt idx="401">
                  <c:v>44476</c:v>
                </c:pt>
                <c:pt idx="402">
                  <c:v>44477</c:v>
                </c:pt>
                <c:pt idx="403">
                  <c:v>44478</c:v>
                </c:pt>
                <c:pt idx="404">
                  <c:v>44479</c:v>
                </c:pt>
                <c:pt idx="405">
                  <c:v>44480</c:v>
                </c:pt>
                <c:pt idx="406">
                  <c:v>44481</c:v>
                </c:pt>
                <c:pt idx="407">
                  <c:v>44482</c:v>
                </c:pt>
                <c:pt idx="408">
                  <c:v>44483</c:v>
                </c:pt>
                <c:pt idx="409">
                  <c:v>44484</c:v>
                </c:pt>
                <c:pt idx="410">
                  <c:v>44485</c:v>
                </c:pt>
                <c:pt idx="411">
                  <c:v>44486</c:v>
                </c:pt>
                <c:pt idx="412">
                  <c:v>44487</c:v>
                </c:pt>
                <c:pt idx="413">
                  <c:v>44488</c:v>
                </c:pt>
                <c:pt idx="414">
                  <c:v>44489</c:v>
                </c:pt>
                <c:pt idx="415">
                  <c:v>44490</c:v>
                </c:pt>
                <c:pt idx="416">
                  <c:v>44491</c:v>
                </c:pt>
                <c:pt idx="417">
                  <c:v>44492</c:v>
                </c:pt>
                <c:pt idx="418">
                  <c:v>44493</c:v>
                </c:pt>
                <c:pt idx="419">
                  <c:v>44494</c:v>
                </c:pt>
                <c:pt idx="420">
                  <c:v>44495</c:v>
                </c:pt>
                <c:pt idx="421">
                  <c:v>44496</c:v>
                </c:pt>
                <c:pt idx="422">
                  <c:v>44497</c:v>
                </c:pt>
                <c:pt idx="423">
                  <c:v>44498</c:v>
                </c:pt>
                <c:pt idx="424">
                  <c:v>44499</c:v>
                </c:pt>
                <c:pt idx="425">
                  <c:v>44500</c:v>
                </c:pt>
                <c:pt idx="426">
                  <c:v>44501</c:v>
                </c:pt>
                <c:pt idx="427">
                  <c:v>44502</c:v>
                </c:pt>
                <c:pt idx="428">
                  <c:v>44503</c:v>
                </c:pt>
                <c:pt idx="429">
                  <c:v>44504</c:v>
                </c:pt>
                <c:pt idx="430">
                  <c:v>44505</c:v>
                </c:pt>
                <c:pt idx="431">
                  <c:v>44506</c:v>
                </c:pt>
                <c:pt idx="432">
                  <c:v>44507</c:v>
                </c:pt>
                <c:pt idx="433">
                  <c:v>44508</c:v>
                </c:pt>
                <c:pt idx="434">
                  <c:v>44509</c:v>
                </c:pt>
                <c:pt idx="435">
                  <c:v>44510</c:v>
                </c:pt>
                <c:pt idx="436">
                  <c:v>44511</c:v>
                </c:pt>
                <c:pt idx="437">
                  <c:v>44512</c:v>
                </c:pt>
                <c:pt idx="438">
                  <c:v>44513</c:v>
                </c:pt>
                <c:pt idx="439">
                  <c:v>44514</c:v>
                </c:pt>
                <c:pt idx="440">
                  <c:v>44515</c:v>
                </c:pt>
                <c:pt idx="441">
                  <c:v>44516</c:v>
                </c:pt>
                <c:pt idx="442">
                  <c:v>44517</c:v>
                </c:pt>
                <c:pt idx="443">
                  <c:v>44518</c:v>
                </c:pt>
                <c:pt idx="444">
                  <c:v>44519</c:v>
                </c:pt>
                <c:pt idx="445">
                  <c:v>44520</c:v>
                </c:pt>
                <c:pt idx="446">
                  <c:v>44521</c:v>
                </c:pt>
                <c:pt idx="447">
                  <c:v>44522</c:v>
                </c:pt>
                <c:pt idx="448">
                  <c:v>44523</c:v>
                </c:pt>
                <c:pt idx="449">
                  <c:v>44524</c:v>
                </c:pt>
                <c:pt idx="450">
                  <c:v>44525</c:v>
                </c:pt>
                <c:pt idx="451">
                  <c:v>44526</c:v>
                </c:pt>
                <c:pt idx="452">
                  <c:v>44527</c:v>
                </c:pt>
                <c:pt idx="453">
                  <c:v>44528</c:v>
                </c:pt>
                <c:pt idx="454">
                  <c:v>44529</c:v>
                </c:pt>
                <c:pt idx="455">
                  <c:v>44530</c:v>
                </c:pt>
                <c:pt idx="456">
                  <c:v>44531</c:v>
                </c:pt>
                <c:pt idx="457">
                  <c:v>44532</c:v>
                </c:pt>
                <c:pt idx="458">
                  <c:v>44533</c:v>
                </c:pt>
                <c:pt idx="459">
                  <c:v>44534</c:v>
                </c:pt>
                <c:pt idx="460">
                  <c:v>44535</c:v>
                </c:pt>
                <c:pt idx="461">
                  <c:v>44536</c:v>
                </c:pt>
                <c:pt idx="462">
                  <c:v>44537</c:v>
                </c:pt>
                <c:pt idx="463">
                  <c:v>44538</c:v>
                </c:pt>
                <c:pt idx="464">
                  <c:v>44539</c:v>
                </c:pt>
                <c:pt idx="465">
                  <c:v>44540</c:v>
                </c:pt>
                <c:pt idx="466">
                  <c:v>44541</c:v>
                </c:pt>
                <c:pt idx="467">
                  <c:v>44542</c:v>
                </c:pt>
                <c:pt idx="468">
                  <c:v>44543</c:v>
                </c:pt>
                <c:pt idx="469">
                  <c:v>44544</c:v>
                </c:pt>
                <c:pt idx="470">
                  <c:v>44545</c:v>
                </c:pt>
                <c:pt idx="471">
                  <c:v>44546</c:v>
                </c:pt>
                <c:pt idx="472">
                  <c:v>44547</c:v>
                </c:pt>
                <c:pt idx="473">
                  <c:v>44548</c:v>
                </c:pt>
                <c:pt idx="474">
                  <c:v>44549</c:v>
                </c:pt>
                <c:pt idx="475">
                  <c:v>44550</c:v>
                </c:pt>
                <c:pt idx="476">
                  <c:v>44551</c:v>
                </c:pt>
                <c:pt idx="477">
                  <c:v>44552</c:v>
                </c:pt>
                <c:pt idx="478">
                  <c:v>44553</c:v>
                </c:pt>
                <c:pt idx="479">
                  <c:v>44554</c:v>
                </c:pt>
                <c:pt idx="480">
                  <c:v>44555</c:v>
                </c:pt>
                <c:pt idx="481">
                  <c:v>44556</c:v>
                </c:pt>
                <c:pt idx="482">
                  <c:v>44557</c:v>
                </c:pt>
                <c:pt idx="483">
                  <c:v>44558</c:v>
                </c:pt>
                <c:pt idx="484">
                  <c:v>44559</c:v>
                </c:pt>
                <c:pt idx="485">
                  <c:v>44560</c:v>
                </c:pt>
                <c:pt idx="486">
                  <c:v>44561</c:v>
                </c:pt>
                <c:pt idx="487">
                  <c:v>44562</c:v>
                </c:pt>
                <c:pt idx="488">
                  <c:v>44563</c:v>
                </c:pt>
                <c:pt idx="489">
                  <c:v>44564</c:v>
                </c:pt>
                <c:pt idx="490">
                  <c:v>44565</c:v>
                </c:pt>
                <c:pt idx="491">
                  <c:v>44566</c:v>
                </c:pt>
                <c:pt idx="492">
                  <c:v>44567</c:v>
                </c:pt>
                <c:pt idx="493">
                  <c:v>44568</c:v>
                </c:pt>
                <c:pt idx="494">
                  <c:v>44569</c:v>
                </c:pt>
                <c:pt idx="495">
                  <c:v>44570</c:v>
                </c:pt>
                <c:pt idx="496">
                  <c:v>44571</c:v>
                </c:pt>
                <c:pt idx="497">
                  <c:v>44572</c:v>
                </c:pt>
                <c:pt idx="498">
                  <c:v>44573</c:v>
                </c:pt>
                <c:pt idx="499">
                  <c:v>44574</c:v>
                </c:pt>
                <c:pt idx="500">
                  <c:v>44575</c:v>
                </c:pt>
                <c:pt idx="501">
                  <c:v>44576</c:v>
                </c:pt>
                <c:pt idx="502">
                  <c:v>44577</c:v>
                </c:pt>
                <c:pt idx="503">
                  <c:v>44578</c:v>
                </c:pt>
                <c:pt idx="504">
                  <c:v>44579</c:v>
                </c:pt>
                <c:pt idx="505">
                  <c:v>44580</c:v>
                </c:pt>
                <c:pt idx="506">
                  <c:v>44581</c:v>
                </c:pt>
                <c:pt idx="507">
                  <c:v>44582</c:v>
                </c:pt>
                <c:pt idx="508">
                  <c:v>44583</c:v>
                </c:pt>
                <c:pt idx="509">
                  <c:v>44584</c:v>
                </c:pt>
                <c:pt idx="510">
                  <c:v>44585</c:v>
                </c:pt>
                <c:pt idx="511">
                  <c:v>44586</c:v>
                </c:pt>
                <c:pt idx="512">
                  <c:v>44587</c:v>
                </c:pt>
                <c:pt idx="513">
                  <c:v>44588</c:v>
                </c:pt>
                <c:pt idx="514">
                  <c:v>44589</c:v>
                </c:pt>
                <c:pt idx="515">
                  <c:v>44590</c:v>
                </c:pt>
                <c:pt idx="516">
                  <c:v>44591</c:v>
                </c:pt>
                <c:pt idx="517">
                  <c:v>44592</c:v>
                </c:pt>
                <c:pt idx="518">
                  <c:v>44593</c:v>
                </c:pt>
                <c:pt idx="519">
                  <c:v>44594</c:v>
                </c:pt>
                <c:pt idx="520">
                  <c:v>44595</c:v>
                </c:pt>
                <c:pt idx="521">
                  <c:v>44596</c:v>
                </c:pt>
                <c:pt idx="522">
                  <c:v>44597</c:v>
                </c:pt>
                <c:pt idx="523">
                  <c:v>44598</c:v>
                </c:pt>
                <c:pt idx="524">
                  <c:v>44599</c:v>
                </c:pt>
                <c:pt idx="525">
                  <c:v>44600</c:v>
                </c:pt>
                <c:pt idx="526">
                  <c:v>44601</c:v>
                </c:pt>
                <c:pt idx="527">
                  <c:v>44602</c:v>
                </c:pt>
                <c:pt idx="528">
                  <c:v>44603</c:v>
                </c:pt>
                <c:pt idx="529">
                  <c:v>44604</c:v>
                </c:pt>
                <c:pt idx="530">
                  <c:v>44605</c:v>
                </c:pt>
                <c:pt idx="531">
                  <c:v>44606</c:v>
                </c:pt>
                <c:pt idx="532">
                  <c:v>44607</c:v>
                </c:pt>
                <c:pt idx="533">
                  <c:v>44608</c:v>
                </c:pt>
                <c:pt idx="534">
                  <c:v>44609</c:v>
                </c:pt>
                <c:pt idx="535">
                  <c:v>44610</c:v>
                </c:pt>
                <c:pt idx="536">
                  <c:v>44611</c:v>
                </c:pt>
                <c:pt idx="537">
                  <c:v>44612</c:v>
                </c:pt>
                <c:pt idx="538">
                  <c:v>44613</c:v>
                </c:pt>
                <c:pt idx="539">
                  <c:v>44614</c:v>
                </c:pt>
                <c:pt idx="540">
                  <c:v>44615</c:v>
                </c:pt>
                <c:pt idx="541">
                  <c:v>44616</c:v>
                </c:pt>
                <c:pt idx="542">
                  <c:v>44617</c:v>
                </c:pt>
                <c:pt idx="543">
                  <c:v>44618</c:v>
                </c:pt>
                <c:pt idx="544">
                  <c:v>44619</c:v>
                </c:pt>
                <c:pt idx="545">
                  <c:v>44620</c:v>
                </c:pt>
                <c:pt idx="546">
                  <c:v>44621</c:v>
                </c:pt>
                <c:pt idx="547">
                  <c:v>44622</c:v>
                </c:pt>
                <c:pt idx="548">
                  <c:v>44623</c:v>
                </c:pt>
                <c:pt idx="549">
                  <c:v>44624</c:v>
                </c:pt>
                <c:pt idx="550">
                  <c:v>44625</c:v>
                </c:pt>
                <c:pt idx="551">
                  <c:v>44626</c:v>
                </c:pt>
                <c:pt idx="552">
                  <c:v>44627</c:v>
                </c:pt>
                <c:pt idx="553">
                  <c:v>44628</c:v>
                </c:pt>
                <c:pt idx="554">
                  <c:v>44629</c:v>
                </c:pt>
                <c:pt idx="555">
                  <c:v>44630</c:v>
                </c:pt>
                <c:pt idx="556">
                  <c:v>44631</c:v>
                </c:pt>
                <c:pt idx="557">
                  <c:v>44632</c:v>
                </c:pt>
                <c:pt idx="558">
                  <c:v>44633</c:v>
                </c:pt>
                <c:pt idx="559">
                  <c:v>44634</c:v>
                </c:pt>
                <c:pt idx="560">
                  <c:v>44635</c:v>
                </c:pt>
                <c:pt idx="561">
                  <c:v>44636</c:v>
                </c:pt>
                <c:pt idx="562">
                  <c:v>44637</c:v>
                </c:pt>
                <c:pt idx="563">
                  <c:v>44638</c:v>
                </c:pt>
                <c:pt idx="564">
                  <c:v>44639</c:v>
                </c:pt>
                <c:pt idx="565">
                  <c:v>44640</c:v>
                </c:pt>
                <c:pt idx="566">
                  <c:v>44641</c:v>
                </c:pt>
                <c:pt idx="567">
                  <c:v>44642</c:v>
                </c:pt>
                <c:pt idx="568">
                  <c:v>44643</c:v>
                </c:pt>
                <c:pt idx="569">
                  <c:v>44644</c:v>
                </c:pt>
                <c:pt idx="570">
                  <c:v>44645</c:v>
                </c:pt>
                <c:pt idx="571">
                  <c:v>44646</c:v>
                </c:pt>
                <c:pt idx="572">
                  <c:v>44647</c:v>
                </c:pt>
                <c:pt idx="573">
                  <c:v>44648</c:v>
                </c:pt>
                <c:pt idx="574">
                  <c:v>44649</c:v>
                </c:pt>
                <c:pt idx="575">
                  <c:v>44650</c:v>
                </c:pt>
                <c:pt idx="576">
                  <c:v>44651</c:v>
                </c:pt>
                <c:pt idx="577">
                  <c:v>44652</c:v>
                </c:pt>
                <c:pt idx="578">
                  <c:v>44653</c:v>
                </c:pt>
                <c:pt idx="579">
                  <c:v>44654</c:v>
                </c:pt>
                <c:pt idx="580">
                  <c:v>44655</c:v>
                </c:pt>
                <c:pt idx="581">
                  <c:v>44656</c:v>
                </c:pt>
                <c:pt idx="582">
                  <c:v>44657</c:v>
                </c:pt>
                <c:pt idx="583">
                  <c:v>44658</c:v>
                </c:pt>
                <c:pt idx="584">
                  <c:v>44659</c:v>
                </c:pt>
                <c:pt idx="585">
                  <c:v>44660</c:v>
                </c:pt>
                <c:pt idx="586">
                  <c:v>44661</c:v>
                </c:pt>
                <c:pt idx="587">
                  <c:v>44662</c:v>
                </c:pt>
                <c:pt idx="588">
                  <c:v>44663</c:v>
                </c:pt>
                <c:pt idx="589">
                  <c:v>44664</c:v>
                </c:pt>
                <c:pt idx="590">
                  <c:v>44665</c:v>
                </c:pt>
                <c:pt idx="591">
                  <c:v>44666</c:v>
                </c:pt>
                <c:pt idx="592">
                  <c:v>44667</c:v>
                </c:pt>
                <c:pt idx="593">
                  <c:v>44668</c:v>
                </c:pt>
                <c:pt idx="594">
                  <c:v>44669</c:v>
                </c:pt>
                <c:pt idx="595">
                  <c:v>44670</c:v>
                </c:pt>
                <c:pt idx="596">
                  <c:v>44671</c:v>
                </c:pt>
                <c:pt idx="597">
                  <c:v>44672</c:v>
                </c:pt>
                <c:pt idx="598">
                  <c:v>44673</c:v>
                </c:pt>
                <c:pt idx="599">
                  <c:v>44674</c:v>
                </c:pt>
                <c:pt idx="600">
                  <c:v>44675</c:v>
                </c:pt>
                <c:pt idx="601">
                  <c:v>44676</c:v>
                </c:pt>
                <c:pt idx="602">
                  <c:v>44677</c:v>
                </c:pt>
                <c:pt idx="603">
                  <c:v>44678</c:v>
                </c:pt>
                <c:pt idx="604">
                  <c:v>44679</c:v>
                </c:pt>
                <c:pt idx="605">
                  <c:v>44680</c:v>
                </c:pt>
                <c:pt idx="606">
                  <c:v>44681</c:v>
                </c:pt>
                <c:pt idx="607">
                  <c:v>44682</c:v>
                </c:pt>
                <c:pt idx="608">
                  <c:v>44683</c:v>
                </c:pt>
                <c:pt idx="609">
                  <c:v>44684</c:v>
                </c:pt>
                <c:pt idx="610">
                  <c:v>44685</c:v>
                </c:pt>
                <c:pt idx="611">
                  <c:v>44686</c:v>
                </c:pt>
                <c:pt idx="612">
                  <c:v>44687</c:v>
                </c:pt>
                <c:pt idx="613">
                  <c:v>44688</c:v>
                </c:pt>
                <c:pt idx="614">
                  <c:v>44689</c:v>
                </c:pt>
                <c:pt idx="615">
                  <c:v>44690</c:v>
                </c:pt>
                <c:pt idx="616">
                  <c:v>44691</c:v>
                </c:pt>
                <c:pt idx="617">
                  <c:v>44692</c:v>
                </c:pt>
                <c:pt idx="618">
                  <c:v>44693</c:v>
                </c:pt>
                <c:pt idx="619">
                  <c:v>44694</c:v>
                </c:pt>
                <c:pt idx="620">
                  <c:v>44695</c:v>
                </c:pt>
                <c:pt idx="621">
                  <c:v>44696</c:v>
                </c:pt>
                <c:pt idx="622">
                  <c:v>44697</c:v>
                </c:pt>
                <c:pt idx="623">
                  <c:v>44698</c:v>
                </c:pt>
                <c:pt idx="624">
                  <c:v>44699</c:v>
                </c:pt>
                <c:pt idx="625">
                  <c:v>44700</c:v>
                </c:pt>
                <c:pt idx="626">
                  <c:v>44701</c:v>
                </c:pt>
                <c:pt idx="627">
                  <c:v>44702</c:v>
                </c:pt>
                <c:pt idx="628">
                  <c:v>44703</c:v>
                </c:pt>
                <c:pt idx="629">
                  <c:v>44704</c:v>
                </c:pt>
                <c:pt idx="630">
                  <c:v>44705</c:v>
                </c:pt>
                <c:pt idx="631">
                  <c:v>44706</c:v>
                </c:pt>
                <c:pt idx="632">
                  <c:v>44707</c:v>
                </c:pt>
                <c:pt idx="633">
                  <c:v>44708</c:v>
                </c:pt>
                <c:pt idx="634">
                  <c:v>44709</c:v>
                </c:pt>
                <c:pt idx="635">
                  <c:v>44710</c:v>
                </c:pt>
                <c:pt idx="636">
                  <c:v>44711</c:v>
                </c:pt>
                <c:pt idx="637">
                  <c:v>44712</c:v>
                </c:pt>
                <c:pt idx="638">
                  <c:v>44713</c:v>
                </c:pt>
                <c:pt idx="639">
                  <c:v>44714</c:v>
                </c:pt>
                <c:pt idx="640">
                  <c:v>44715</c:v>
                </c:pt>
                <c:pt idx="641">
                  <c:v>44716</c:v>
                </c:pt>
                <c:pt idx="642">
                  <c:v>44717</c:v>
                </c:pt>
                <c:pt idx="643">
                  <c:v>44718</c:v>
                </c:pt>
                <c:pt idx="644">
                  <c:v>44719</c:v>
                </c:pt>
                <c:pt idx="645">
                  <c:v>44720</c:v>
                </c:pt>
                <c:pt idx="646">
                  <c:v>44721</c:v>
                </c:pt>
                <c:pt idx="647">
                  <c:v>44722</c:v>
                </c:pt>
                <c:pt idx="648">
                  <c:v>44723</c:v>
                </c:pt>
                <c:pt idx="649">
                  <c:v>44724</c:v>
                </c:pt>
                <c:pt idx="650">
                  <c:v>44725</c:v>
                </c:pt>
                <c:pt idx="651">
                  <c:v>44726</c:v>
                </c:pt>
                <c:pt idx="652">
                  <c:v>44727</c:v>
                </c:pt>
                <c:pt idx="653">
                  <c:v>44728</c:v>
                </c:pt>
                <c:pt idx="654">
                  <c:v>44729</c:v>
                </c:pt>
                <c:pt idx="655">
                  <c:v>44730</c:v>
                </c:pt>
                <c:pt idx="656">
                  <c:v>44731</c:v>
                </c:pt>
                <c:pt idx="657">
                  <c:v>44732</c:v>
                </c:pt>
                <c:pt idx="658">
                  <c:v>44733</c:v>
                </c:pt>
                <c:pt idx="659">
                  <c:v>44734</c:v>
                </c:pt>
                <c:pt idx="660">
                  <c:v>44735</c:v>
                </c:pt>
                <c:pt idx="661">
                  <c:v>44736</c:v>
                </c:pt>
                <c:pt idx="662">
                  <c:v>44737</c:v>
                </c:pt>
                <c:pt idx="663">
                  <c:v>44738</c:v>
                </c:pt>
                <c:pt idx="664">
                  <c:v>44739</c:v>
                </c:pt>
                <c:pt idx="665">
                  <c:v>44740</c:v>
                </c:pt>
                <c:pt idx="666">
                  <c:v>44741</c:v>
                </c:pt>
                <c:pt idx="667">
                  <c:v>44742</c:v>
                </c:pt>
                <c:pt idx="668">
                  <c:v>44743</c:v>
                </c:pt>
                <c:pt idx="669">
                  <c:v>44744</c:v>
                </c:pt>
                <c:pt idx="670">
                  <c:v>44745</c:v>
                </c:pt>
                <c:pt idx="671">
                  <c:v>44746</c:v>
                </c:pt>
                <c:pt idx="672">
                  <c:v>44747</c:v>
                </c:pt>
                <c:pt idx="673">
                  <c:v>44748</c:v>
                </c:pt>
                <c:pt idx="674">
                  <c:v>44749</c:v>
                </c:pt>
                <c:pt idx="675">
                  <c:v>44750</c:v>
                </c:pt>
                <c:pt idx="676">
                  <c:v>44751</c:v>
                </c:pt>
                <c:pt idx="677">
                  <c:v>44752</c:v>
                </c:pt>
                <c:pt idx="678">
                  <c:v>44753</c:v>
                </c:pt>
                <c:pt idx="679">
                  <c:v>44754</c:v>
                </c:pt>
                <c:pt idx="680">
                  <c:v>44755</c:v>
                </c:pt>
                <c:pt idx="681">
                  <c:v>44756</c:v>
                </c:pt>
                <c:pt idx="682">
                  <c:v>44757</c:v>
                </c:pt>
                <c:pt idx="683">
                  <c:v>44758</c:v>
                </c:pt>
                <c:pt idx="684">
                  <c:v>44759</c:v>
                </c:pt>
                <c:pt idx="685">
                  <c:v>44760</c:v>
                </c:pt>
                <c:pt idx="686">
                  <c:v>44761</c:v>
                </c:pt>
                <c:pt idx="687">
                  <c:v>44762</c:v>
                </c:pt>
                <c:pt idx="688">
                  <c:v>44763</c:v>
                </c:pt>
                <c:pt idx="689">
                  <c:v>44764</c:v>
                </c:pt>
                <c:pt idx="690">
                  <c:v>44765</c:v>
                </c:pt>
                <c:pt idx="691">
                  <c:v>44766</c:v>
                </c:pt>
                <c:pt idx="692">
                  <c:v>44767</c:v>
                </c:pt>
                <c:pt idx="693">
                  <c:v>44768</c:v>
                </c:pt>
                <c:pt idx="694">
                  <c:v>44769</c:v>
                </c:pt>
                <c:pt idx="695">
                  <c:v>44770</c:v>
                </c:pt>
                <c:pt idx="696">
                  <c:v>44771</c:v>
                </c:pt>
                <c:pt idx="697">
                  <c:v>44772</c:v>
                </c:pt>
                <c:pt idx="698">
                  <c:v>44773</c:v>
                </c:pt>
                <c:pt idx="699">
                  <c:v>44774</c:v>
                </c:pt>
                <c:pt idx="700">
                  <c:v>44775</c:v>
                </c:pt>
                <c:pt idx="701">
                  <c:v>44776</c:v>
                </c:pt>
                <c:pt idx="702">
                  <c:v>44777</c:v>
                </c:pt>
                <c:pt idx="703">
                  <c:v>44778</c:v>
                </c:pt>
                <c:pt idx="704">
                  <c:v>44779</c:v>
                </c:pt>
                <c:pt idx="705">
                  <c:v>44780</c:v>
                </c:pt>
                <c:pt idx="706">
                  <c:v>44781</c:v>
                </c:pt>
                <c:pt idx="707">
                  <c:v>44782</c:v>
                </c:pt>
                <c:pt idx="708">
                  <c:v>44783</c:v>
                </c:pt>
                <c:pt idx="709">
                  <c:v>44784</c:v>
                </c:pt>
                <c:pt idx="710">
                  <c:v>44785</c:v>
                </c:pt>
                <c:pt idx="711">
                  <c:v>44786</c:v>
                </c:pt>
                <c:pt idx="712">
                  <c:v>44787</c:v>
                </c:pt>
                <c:pt idx="713">
                  <c:v>44788</c:v>
                </c:pt>
                <c:pt idx="714">
                  <c:v>44789</c:v>
                </c:pt>
                <c:pt idx="715">
                  <c:v>44790</c:v>
                </c:pt>
                <c:pt idx="716">
                  <c:v>44791</c:v>
                </c:pt>
                <c:pt idx="717">
                  <c:v>44792</c:v>
                </c:pt>
                <c:pt idx="718">
                  <c:v>44793</c:v>
                </c:pt>
                <c:pt idx="719">
                  <c:v>44794</c:v>
                </c:pt>
                <c:pt idx="720">
                  <c:v>44795</c:v>
                </c:pt>
                <c:pt idx="721">
                  <c:v>44796</c:v>
                </c:pt>
                <c:pt idx="722">
                  <c:v>44797</c:v>
                </c:pt>
                <c:pt idx="723">
                  <c:v>44798</c:v>
                </c:pt>
                <c:pt idx="724">
                  <c:v>44799</c:v>
                </c:pt>
                <c:pt idx="725">
                  <c:v>44800</c:v>
                </c:pt>
                <c:pt idx="726">
                  <c:v>44801</c:v>
                </c:pt>
                <c:pt idx="727">
                  <c:v>44802</c:v>
                </c:pt>
                <c:pt idx="728">
                  <c:v>44803</c:v>
                </c:pt>
                <c:pt idx="729">
                  <c:v>44804</c:v>
                </c:pt>
                <c:pt idx="730">
                  <c:v>44805</c:v>
                </c:pt>
                <c:pt idx="731">
                  <c:v>44806</c:v>
                </c:pt>
                <c:pt idx="732">
                  <c:v>44807</c:v>
                </c:pt>
                <c:pt idx="733">
                  <c:v>44808</c:v>
                </c:pt>
                <c:pt idx="734">
                  <c:v>44809</c:v>
                </c:pt>
                <c:pt idx="735">
                  <c:v>44810</c:v>
                </c:pt>
                <c:pt idx="736">
                  <c:v>44811</c:v>
                </c:pt>
                <c:pt idx="737">
                  <c:v>44812</c:v>
                </c:pt>
                <c:pt idx="738">
                  <c:v>44813</c:v>
                </c:pt>
                <c:pt idx="739">
                  <c:v>44814</c:v>
                </c:pt>
                <c:pt idx="740">
                  <c:v>44815</c:v>
                </c:pt>
                <c:pt idx="741">
                  <c:v>44816</c:v>
                </c:pt>
                <c:pt idx="742">
                  <c:v>44817</c:v>
                </c:pt>
                <c:pt idx="743">
                  <c:v>44818</c:v>
                </c:pt>
                <c:pt idx="744">
                  <c:v>44819</c:v>
                </c:pt>
                <c:pt idx="745">
                  <c:v>44820</c:v>
                </c:pt>
                <c:pt idx="746">
                  <c:v>44821</c:v>
                </c:pt>
                <c:pt idx="747">
                  <c:v>44822</c:v>
                </c:pt>
                <c:pt idx="748">
                  <c:v>44823</c:v>
                </c:pt>
                <c:pt idx="749">
                  <c:v>44824</c:v>
                </c:pt>
                <c:pt idx="750">
                  <c:v>44825</c:v>
                </c:pt>
                <c:pt idx="751">
                  <c:v>44826</c:v>
                </c:pt>
                <c:pt idx="752">
                  <c:v>44827</c:v>
                </c:pt>
                <c:pt idx="753">
                  <c:v>44828</c:v>
                </c:pt>
                <c:pt idx="754">
                  <c:v>44829</c:v>
                </c:pt>
                <c:pt idx="755">
                  <c:v>44830</c:v>
                </c:pt>
                <c:pt idx="756">
                  <c:v>44831</c:v>
                </c:pt>
                <c:pt idx="757">
                  <c:v>44832</c:v>
                </c:pt>
                <c:pt idx="758">
                  <c:v>44833</c:v>
                </c:pt>
                <c:pt idx="759">
                  <c:v>44834</c:v>
                </c:pt>
                <c:pt idx="760">
                  <c:v>44835</c:v>
                </c:pt>
                <c:pt idx="761">
                  <c:v>44836</c:v>
                </c:pt>
                <c:pt idx="762">
                  <c:v>44837</c:v>
                </c:pt>
                <c:pt idx="763">
                  <c:v>44838</c:v>
                </c:pt>
                <c:pt idx="764">
                  <c:v>44839</c:v>
                </c:pt>
                <c:pt idx="765">
                  <c:v>44840</c:v>
                </c:pt>
                <c:pt idx="766">
                  <c:v>44841</c:v>
                </c:pt>
                <c:pt idx="767">
                  <c:v>44842</c:v>
                </c:pt>
                <c:pt idx="768">
                  <c:v>44843</c:v>
                </c:pt>
                <c:pt idx="769">
                  <c:v>44844</c:v>
                </c:pt>
                <c:pt idx="770">
                  <c:v>44845</c:v>
                </c:pt>
                <c:pt idx="771">
                  <c:v>44846</c:v>
                </c:pt>
                <c:pt idx="772">
                  <c:v>44847</c:v>
                </c:pt>
                <c:pt idx="773">
                  <c:v>44848</c:v>
                </c:pt>
                <c:pt idx="774">
                  <c:v>44849</c:v>
                </c:pt>
                <c:pt idx="775">
                  <c:v>44850</c:v>
                </c:pt>
                <c:pt idx="776">
                  <c:v>44851</c:v>
                </c:pt>
                <c:pt idx="777">
                  <c:v>44852</c:v>
                </c:pt>
                <c:pt idx="778">
                  <c:v>44853</c:v>
                </c:pt>
                <c:pt idx="779">
                  <c:v>44854</c:v>
                </c:pt>
                <c:pt idx="780">
                  <c:v>44855</c:v>
                </c:pt>
                <c:pt idx="781">
                  <c:v>44856</c:v>
                </c:pt>
                <c:pt idx="782">
                  <c:v>44857</c:v>
                </c:pt>
                <c:pt idx="783">
                  <c:v>44858</c:v>
                </c:pt>
                <c:pt idx="784">
                  <c:v>44859</c:v>
                </c:pt>
                <c:pt idx="785">
                  <c:v>44860</c:v>
                </c:pt>
                <c:pt idx="786">
                  <c:v>44861</c:v>
                </c:pt>
                <c:pt idx="787">
                  <c:v>44862</c:v>
                </c:pt>
                <c:pt idx="788">
                  <c:v>44863</c:v>
                </c:pt>
                <c:pt idx="789">
                  <c:v>44864</c:v>
                </c:pt>
                <c:pt idx="790">
                  <c:v>44865</c:v>
                </c:pt>
                <c:pt idx="791">
                  <c:v>44866</c:v>
                </c:pt>
                <c:pt idx="792">
                  <c:v>44867</c:v>
                </c:pt>
                <c:pt idx="793">
                  <c:v>44868</c:v>
                </c:pt>
                <c:pt idx="794">
                  <c:v>44869</c:v>
                </c:pt>
                <c:pt idx="795">
                  <c:v>44870</c:v>
                </c:pt>
                <c:pt idx="796">
                  <c:v>44871</c:v>
                </c:pt>
                <c:pt idx="797">
                  <c:v>44872</c:v>
                </c:pt>
                <c:pt idx="798">
                  <c:v>44873</c:v>
                </c:pt>
                <c:pt idx="799">
                  <c:v>44874</c:v>
                </c:pt>
                <c:pt idx="800">
                  <c:v>44875</c:v>
                </c:pt>
                <c:pt idx="801">
                  <c:v>44876</c:v>
                </c:pt>
                <c:pt idx="802">
                  <c:v>44877</c:v>
                </c:pt>
                <c:pt idx="803">
                  <c:v>44878</c:v>
                </c:pt>
                <c:pt idx="804">
                  <c:v>44879</c:v>
                </c:pt>
                <c:pt idx="805">
                  <c:v>44880</c:v>
                </c:pt>
                <c:pt idx="806">
                  <c:v>44881</c:v>
                </c:pt>
                <c:pt idx="807">
                  <c:v>44882</c:v>
                </c:pt>
                <c:pt idx="808">
                  <c:v>44883</c:v>
                </c:pt>
                <c:pt idx="809">
                  <c:v>44884</c:v>
                </c:pt>
                <c:pt idx="810">
                  <c:v>44885</c:v>
                </c:pt>
                <c:pt idx="811">
                  <c:v>44886</c:v>
                </c:pt>
                <c:pt idx="812">
                  <c:v>44887</c:v>
                </c:pt>
                <c:pt idx="813">
                  <c:v>44888</c:v>
                </c:pt>
                <c:pt idx="814">
                  <c:v>44889</c:v>
                </c:pt>
                <c:pt idx="815">
                  <c:v>44890</c:v>
                </c:pt>
                <c:pt idx="816">
                  <c:v>44891</c:v>
                </c:pt>
                <c:pt idx="817">
                  <c:v>44892</c:v>
                </c:pt>
                <c:pt idx="818">
                  <c:v>44893</c:v>
                </c:pt>
                <c:pt idx="819">
                  <c:v>44894</c:v>
                </c:pt>
                <c:pt idx="820">
                  <c:v>44895</c:v>
                </c:pt>
                <c:pt idx="821">
                  <c:v>44896</c:v>
                </c:pt>
                <c:pt idx="822">
                  <c:v>44897</c:v>
                </c:pt>
                <c:pt idx="823">
                  <c:v>44898</c:v>
                </c:pt>
                <c:pt idx="824">
                  <c:v>44899</c:v>
                </c:pt>
                <c:pt idx="825">
                  <c:v>44900</c:v>
                </c:pt>
                <c:pt idx="826">
                  <c:v>44901</c:v>
                </c:pt>
                <c:pt idx="827">
                  <c:v>44902</c:v>
                </c:pt>
                <c:pt idx="828">
                  <c:v>44903</c:v>
                </c:pt>
                <c:pt idx="829">
                  <c:v>44904</c:v>
                </c:pt>
                <c:pt idx="830">
                  <c:v>44905</c:v>
                </c:pt>
                <c:pt idx="831">
                  <c:v>44906</c:v>
                </c:pt>
                <c:pt idx="832">
                  <c:v>44907</c:v>
                </c:pt>
                <c:pt idx="833">
                  <c:v>44908</c:v>
                </c:pt>
                <c:pt idx="834">
                  <c:v>44909</c:v>
                </c:pt>
                <c:pt idx="835">
                  <c:v>44910</c:v>
                </c:pt>
                <c:pt idx="836">
                  <c:v>44911</c:v>
                </c:pt>
                <c:pt idx="837">
                  <c:v>44912</c:v>
                </c:pt>
                <c:pt idx="838">
                  <c:v>44913</c:v>
                </c:pt>
                <c:pt idx="839">
                  <c:v>44914</c:v>
                </c:pt>
                <c:pt idx="840">
                  <c:v>44915</c:v>
                </c:pt>
                <c:pt idx="841">
                  <c:v>44916</c:v>
                </c:pt>
                <c:pt idx="842">
                  <c:v>44917</c:v>
                </c:pt>
                <c:pt idx="843">
                  <c:v>44918</c:v>
                </c:pt>
                <c:pt idx="844">
                  <c:v>44919</c:v>
                </c:pt>
                <c:pt idx="845">
                  <c:v>44920</c:v>
                </c:pt>
                <c:pt idx="846">
                  <c:v>44921</c:v>
                </c:pt>
                <c:pt idx="847">
                  <c:v>44922</c:v>
                </c:pt>
                <c:pt idx="848">
                  <c:v>44923</c:v>
                </c:pt>
                <c:pt idx="849">
                  <c:v>44924</c:v>
                </c:pt>
                <c:pt idx="850">
                  <c:v>44925</c:v>
                </c:pt>
                <c:pt idx="851">
                  <c:v>44926</c:v>
                </c:pt>
                <c:pt idx="852">
                  <c:v>44927</c:v>
                </c:pt>
                <c:pt idx="853">
                  <c:v>44928</c:v>
                </c:pt>
                <c:pt idx="854">
                  <c:v>44929</c:v>
                </c:pt>
                <c:pt idx="855">
                  <c:v>44930</c:v>
                </c:pt>
                <c:pt idx="856">
                  <c:v>44931</c:v>
                </c:pt>
                <c:pt idx="857">
                  <c:v>44932</c:v>
                </c:pt>
                <c:pt idx="858">
                  <c:v>44933</c:v>
                </c:pt>
                <c:pt idx="859">
                  <c:v>44934</c:v>
                </c:pt>
                <c:pt idx="860">
                  <c:v>44935</c:v>
                </c:pt>
                <c:pt idx="861">
                  <c:v>44936</c:v>
                </c:pt>
                <c:pt idx="862">
                  <c:v>44937</c:v>
                </c:pt>
                <c:pt idx="863">
                  <c:v>44938</c:v>
                </c:pt>
                <c:pt idx="864">
                  <c:v>44939</c:v>
                </c:pt>
                <c:pt idx="865">
                  <c:v>44940</c:v>
                </c:pt>
                <c:pt idx="866">
                  <c:v>44941</c:v>
                </c:pt>
                <c:pt idx="867">
                  <c:v>44942</c:v>
                </c:pt>
                <c:pt idx="868">
                  <c:v>44943</c:v>
                </c:pt>
                <c:pt idx="869">
                  <c:v>44944</c:v>
                </c:pt>
                <c:pt idx="870">
                  <c:v>44945</c:v>
                </c:pt>
                <c:pt idx="871">
                  <c:v>44946</c:v>
                </c:pt>
                <c:pt idx="872">
                  <c:v>44947</c:v>
                </c:pt>
                <c:pt idx="873">
                  <c:v>44948</c:v>
                </c:pt>
                <c:pt idx="874">
                  <c:v>44949</c:v>
                </c:pt>
                <c:pt idx="875">
                  <c:v>44950</c:v>
                </c:pt>
                <c:pt idx="876">
                  <c:v>44951</c:v>
                </c:pt>
                <c:pt idx="877">
                  <c:v>44952</c:v>
                </c:pt>
                <c:pt idx="878">
                  <c:v>44953</c:v>
                </c:pt>
                <c:pt idx="879">
                  <c:v>44954</c:v>
                </c:pt>
                <c:pt idx="880">
                  <c:v>44955</c:v>
                </c:pt>
                <c:pt idx="881">
                  <c:v>44956</c:v>
                </c:pt>
                <c:pt idx="882">
                  <c:v>44957</c:v>
                </c:pt>
                <c:pt idx="883">
                  <c:v>44958</c:v>
                </c:pt>
                <c:pt idx="884">
                  <c:v>44959</c:v>
                </c:pt>
                <c:pt idx="885">
                  <c:v>44960</c:v>
                </c:pt>
                <c:pt idx="886">
                  <c:v>44961</c:v>
                </c:pt>
                <c:pt idx="887">
                  <c:v>44962</c:v>
                </c:pt>
                <c:pt idx="888">
                  <c:v>44963</c:v>
                </c:pt>
                <c:pt idx="889">
                  <c:v>44964</c:v>
                </c:pt>
                <c:pt idx="890">
                  <c:v>44965</c:v>
                </c:pt>
                <c:pt idx="891">
                  <c:v>44966</c:v>
                </c:pt>
                <c:pt idx="892">
                  <c:v>44967</c:v>
                </c:pt>
                <c:pt idx="893">
                  <c:v>44968</c:v>
                </c:pt>
                <c:pt idx="894">
                  <c:v>44969</c:v>
                </c:pt>
                <c:pt idx="895">
                  <c:v>44970</c:v>
                </c:pt>
                <c:pt idx="896">
                  <c:v>44971</c:v>
                </c:pt>
                <c:pt idx="897">
                  <c:v>44972</c:v>
                </c:pt>
                <c:pt idx="898">
                  <c:v>44973</c:v>
                </c:pt>
                <c:pt idx="899">
                  <c:v>44974</c:v>
                </c:pt>
                <c:pt idx="900">
                  <c:v>44975</c:v>
                </c:pt>
                <c:pt idx="901">
                  <c:v>44976</c:v>
                </c:pt>
                <c:pt idx="902">
                  <c:v>44977</c:v>
                </c:pt>
                <c:pt idx="903">
                  <c:v>44978</c:v>
                </c:pt>
                <c:pt idx="904">
                  <c:v>44979</c:v>
                </c:pt>
                <c:pt idx="905">
                  <c:v>44980</c:v>
                </c:pt>
                <c:pt idx="906">
                  <c:v>44981</c:v>
                </c:pt>
                <c:pt idx="907">
                  <c:v>44982</c:v>
                </c:pt>
                <c:pt idx="908">
                  <c:v>44983</c:v>
                </c:pt>
              </c:numCache>
            </c:numRef>
          </c:cat>
          <c:val>
            <c:numRef>
              <c:f>Sheet1!$C$2:$C$910</c:f>
              <c:numCache>
                <c:formatCode>General</c:formatCode>
                <c:ptCount val="909"/>
                <c:pt idx="0">
                  <c:v>4.6563192904000003E-2</c:v>
                </c:pt>
                <c:pt idx="1">
                  <c:v>5.8877086494000003E-2</c:v>
                </c:pt>
                <c:pt idx="2">
                  <c:v>6.4408829754999994E-2</c:v>
                </c:pt>
                <c:pt idx="3">
                  <c:v>7.0298769770999997E-2</c:v>
                </c:pt>
                <c:pt idx="4">
                  <c:v>6.3139931740000002E-2</c:v>
                </c:pt>
                <c:pt idx="5">
                  <c:v>8.4953203743E-2</c:v>
                </c:pt>
                <c:pt idx="6">
                  <c:v>4.9631851648999997E-2</c:v>
                </c:pt>
                <c:pt idx="7">
                  <c:v>7.1933085500999999E-2</c:v>
                </c:pt>
                <c:pt idx="8">
                  <c:v>7.3474702380000007E-2</c:v>
                </c:pt>
                <c:pt idx="9">
                  <c:v>8.4172784702E-2</c:v>
                </c:pt>
                <c:pt idx="10">
                  <c:v>7.5240594925000001E-2</c:v>
                </c:pt>
                <c:pt idx="11">
                  <c:v>0.10949920508700001</c:v>
                </c:pt>
                <c:pt idx="12">
                  <c:v>0.103461109043</c:v>
                </c:pt>
                <c:pt idx="13">
                  <c:v>5.7668898356000003E-2</c:v>
                </c:pt>
                <c:pt idx="14">
                  <c:v>7.8204476093000005E-2</c:v>
                </c:pt>
                <c:pt idx="15">
                  <c:v>0.10597302504800001</c:v>
                </c:pt>
                <c:pt idx="16">
                  <c:v>0.131402612152</c:v>
                </c:pt>
                <c:pt idx="17">
                  <c:v>9.3965215360999998E-2</c:v>
                </c:pt>
                <c:pt idx="18">
                  <c:v>0.123115577889</c:v>
                </c:pt>
                <c:pt idx="19">
                  <c:v>8.5326586935999996E-2</c:v>
                </c:pt>
                <c:pt idx="20">
                  <c:v>8.1839746968000004E-2</c:v>
                </c:pt>
                <c:pt idx="21">
                  <c:v>0.103636161458</c:v>
                </c:pt>
                <c:pt idx="22">
                  <c:v>0.10420206138800001</c:v>
                </c:pt>
                <c:pt idx="23">
                  <c:v>0.123832038725</c:v>
                </c:pt>
                <c:pt idx="24">
                  <c:v>0.118589743589</c:v>
                </c:pt>
                <c:pt idx="25">
                  <c:v>0.12383177569999999</c:v>
                </c:pt>
                <c:pt idx="26">
                  <c:v>0.12710935787800001</c:v>
                </c:pt>
                <c:pt idx="27">
                  <c:v>0.10111334185</c:v>
                </c:pt>
                <c:pt idx="28">
                  <c:v>0.10902362653</c:v>
                </c:pt>
                <c:pt idx="29">
                  <c:v>0.13527817219499999</c:v>
                </c:pt>
                <c:pt idx="30">
                  <c:v>0.14229954276699999</c:v>
                </c:pt>
                <c:pt idx="31">
                  <c:v>0.16213704994100001</c:v>
                </c:pt>
                <c:pt idx="32">
                  <c:v>0.162046145591</c:v>
                </c:pt>
                <c:pt idx="33">
                  <c:v>0.24521216672900001</c:v>
                </c:pt>
                <c:pt idx="34">
                  <c:v>0.18769022658000001</c:v>
                </c:pt>
                <c:pt idx="35">
                  <c:v>0.18859052097500001</c:v>
                </c:pt>
                <c:pt idx="36">
                  <c:v>0.21623890621200001</c:v>
                </c:pt>
                <c:pt idx="37">
                  <c:v>0.20527201346000001</c:v>
                </c:pt>
                <c:pt idx="38">
                  <c:v>0.28695060287800001</c:v>
                </c:pt>
                <c:pt idx="39">
                  <c:v>0.24027885360099999</c:v>
                </c:pt>
                <c:pt idx="40">
                  <c:v>0.25707376057999998</c:v>
                </c:pt>
                <c:pt idx="41">
                  <c:v>0.205656232839</c:v>
                </c:pt>
                <c:pt idx="42">
                  <c:v>0.249714611872</c:v>
                </c:pt>
                <c:pt idx="43">
                  <c:v>0.25282891403399999</c:v>
                </c:pt>
                <c:pt idx="44">
                  <c:v>0.255883825738</c:v>
                </c:pt>
                <c:pt idx="45">
                  <c:v>0.26576229381799998</c:v>
                </c:pt>
                <c:pt idx="46">
                  <c:v>0.25902049456300003</c:v>
                </c:pt>
                <c:pt idx="47">
                  <c:v>0.25800000000000001</c:v>
                </c:pt>
                <c:pt idx="48">
                  <c:v>0.24744060266500001</c:v>
                </c:pt>
                <c:pt idx="49">
                  <c:v>0.262313537855</c:v>
                </c:pt>
                <c:pt idx="50">
                  <c:v>0.29777777777699999</c:v>
                </c:pt>
                <c:pt idx="51">
                  <c:v>0.27444171705600001</c:v>
                </c:pt>
                <c:pt idx="52">
                  <c:v>0.29236701005999999</c:v>
                </c:pt>
                <c:pt idx="53">
                  <c:v>0.27326400536700002</c:v>
                </c:pt>
                <c:pt idx="54">
                  <c:v>0.29609076334899997</c:v>
                </c:pt>
                <c:pt idx="55">
                  <c:v>0.263722657862</c:v>
                </c:pt>
                <c:pt idx="56">
                  <c:v>0.29345565749199998</c:v>
                </c:pt>
                <c:pt idx="57">
                  <c:v>0.27053042541700001</c:v>
                </c:pt>
                <c:pt idx="58">
                  <c:v>0.25828738036299997</c:v>
                </c:pt>
                <c:pt idx="59">
                  <c:v>0.25562470081299998</c:v>
                </c:pt>
                <c:pt idx="60">
                  <c:v>0.273549918409</c:v>
                </c:pt>
                <c:pt idx="61">
                  <c:v>0.28723010487299999</c:v>
                </c:pt>
                <c:pt idx="62">
                  <c:v>0.24321399585100001</c:v>
                </c:pt>
                <c:pt idx="63">
                  <c:v>0.24348577505899999</c:v>
                </c:pt>
                <c:pt idx="64">
                  <c:v>0.29116564417099999</c:v>
                </c:pt>
                <c:pt idx="65">
                  <c:v>0.26026407409800001</c:v>
                </c:pt>
                <c:pt idx="66">
                  <c:v>0.26082084325499999</c:v>
                </c:pt>
                <c:pt idx="67">
                  <c:v>0.26843628380399998</c:v>
                </c:pt>
                <c:pt idx="68">
                  <c:v>0.240501855451</c:v>
                </c:pt>
                <c:pt idx="69">
                  <c:v>0.18939127375000001</c:v>
                </c:pt>
                <c:pt idx="70">
                  <c:v>0.208964558721</c:v>
                </c:pt>
                <c:pt idx="71">
                  <c:v>0.20512086968900001</c:v>
                </c:pt>
                <c:pt idx="72">
                  <c:v>0.20513630975800001</c:v>
                </c:pt>
                <c:pt idx="73">
                  <c:v>0.19697692919599999</c:v>
                </c:pt>
                <c:pt idx="74">
                  <c:v>0.238537992946</c:v>
                </c:pt>
                <c:pt idx="75">
                  <c:v>0.209890741805</c:v>
                </c:pt>
                <c:pt idx="76">
                  <c:v>0.15114221364200001</c:v>
                </c:pt>
                <c:pt idx="77">
                  <c:v>0.21690499787600001</c:v>
                </c:pt>
                <c:pt idx="78">
                  <c:v>0.16235480464599999</c:v>
                </c:pt>
                <c:pt idx="79">
                  <c:v>0.208220502901</c:v>
                </c:pt>
                <c:pt idx="80">
                  <c:v>0.19653577403700001</c:v>
                </c:pt>
                <c:pt idx="81">
                  <c:v>0.193068497629</c:v>
                </c:pt>
                <c:pt idx="82">
                  <c:v>0.19683120048700001</c:v>
                </c:pt>
                <c:pt idx="83">
                  <c:v>0.11411281607900001</c:v>
                </c:pt>
                <c:pt idx="84">
                  <c:v>0.18535795887199999</c:v>
                </c:pt>
                <c:pt idx="85">
                  <c:v>0.171181899374</c:v>
                </c:pt>
                <c:pt idx="86">
                  <c:v>0.155558104852</c:v>
                </c:pt>
                <c:pt idx="87">
                  <c:v>0.16835797815699999</c:v>
                </c:pt>
                <c:pt idx="88">
                  <c:v>0.20639688990899999</c:v>
                </c:pt>
                <c:pt idx="89">
                  <c:v>0.17576664173500001</c:v>
                </c:pt>
                <c:pt idx="90">
                  <c:v>9.6146044624000004E-2</c:v>
                </c:pt>
                <c:pt idx="91">
                  <c:v>0.171685155837</c:v>
                </c:pt>
                <c:pt idx="92">
                  <c:v>0.159604256113</c:v>
                </c:pt>
                <c:pt idx="93">
                  <c:v>0.18191311612300001</c:v>
                </c:pt>
                <c:pt idx="94">
                  <c:v>0.18104922163199999</c:v>
                </c:pt>
                <c:pt idx="95">
                  <c:v>0.24623032311500001</c:v>
                </c:pt>
                <c:pt idx="96">
                  <c:v>0.148496240601</c:v>
                </c:pt>
                <c:pt idx="97">
                  <c:v>0.11068967697</c:v>
                </c:pt>
                <c:pt idx="98">
                  <c:v>0.17130669061500001</c:v>
                </c:pt>
                <c:pt idx="99">
                  <c:v>0.183465036528</c:v>
                </c:pt>
                <c:pt idx="100">
                  <c:v>0.18624211474899999</c:v>
                </c:pt>
                <c:pt idx="101">
                  <c:v>0.17023968042599999</c:v>
                </c:pt>
                <c:pt idx="102">
                  <c:v>0.199529061841</c:v>
                </c:pt>
                <c:pt idx="103">
                  <c:v>0.19925425308700001</c:v>
                </c:pt>
                <c:pt idx="104">
                  <c:v>0.121195039458</c:v>
                </c:pt>
                <c:pt idx="105">
                  <c:v>0.18507932804400001</c:v>
                </c:pt>
                <c:pt idx="106">
                  <c:v>0.16940500877299999</c:v>
                </c:pt>
                <c:pt idx="107">
                  <c:v>0.16153280958499999</c:v>
                </c:pt>
                <c:pt idx="108">
                  <c:v>0.15749560713899999</c:v>
                </c:pt>
                <c:pt idx="109">
                  <c:v>0.15915439788499999</c:v>
                </c:pt>
                <c:pt idx="110">
                  <c:v>0.16033097493699999</c:v>
                </c:pt>
                <c:pt idx="111">
                  <c:v>0.11912094597099999</c:v>
                </c:pt>
                <c:pt idx="112">
                  <c:v>0.14541425161900001</c:v>
                </c:pt>
                <c:pt idx="113">
                  <c:v>0.160063528732</c:v>
                </c:pt>
                <c:pt idx="114">
                  <c:v>0.23009916912299999</c:v>
                </c:pt>
                <c:pt idx="115">
                  <c:v>0.17967977861199999</c:v>
                </c:pt>
                <c:pt idx="116">
                  <c:v>0.16000568909099999</c:v>
                </c:pt>
                <c:pt idx="117">
                  <c:v>0.17527630946600001</c:v>
                </c:pt>
                <c:pt idx="118">
                  <c:v>0.17299313052000001</c:v>
                </c:pt>
                <c:pt idx="119">
                  <c:v>0.25169593363499998</c:v>
                </c:pt>
                <c:pt idx="120">
                  <c:v>0.25869547754799999</c:v>
                </c:pt>
                <c:pt idx="121">
                  <c:v>0.282873706452</c:v>
                </c:pt>
                <c:pt idx="122">
                  <c:v>0.32958622339100002</c:v>
                </c:pt>
                <c:pt idx="123">
                  <c:v>0.18316326530599999</c:v>
                </c:pt>
                <c:pt idx="124">
                  <c:v>0.238535608732</c:v>
                </c:pt>
                <c:pt idx="125">
                  <c:v>0.17222790856299999</c:v>
                </c:pt>
                <c:pt idx="126">
                  <c:v>0.23617393842100001</c:v>
                </c:pt>
                <c:pt idx="127">
                  <c:v>0.27692372666600001</c:v>
                </c:pt>
                <c:pt idx="128">
                  <c:v>0.23819404099899999</c:v>
                </c:pt>
                <c:pt idx="129">
                  <c:v>0.20582986317599999</c:v>
                </c:pt>
                <c:pt idx="130">
                  <c:v>0.26306901615200001</c:v>
                </c:pt>
                <c:pt idx="131">
                  <c:v>0.210663346162</c:v>
                </c:pt>
                <c:pt idx="132">
                  <c:v>0.13634464024500001</c:v>
                </c:pt>
                <c:pt idx="133">
                  <c:v>0.18942625892100001</c:v>
                </c:pt>
                <c:pt idx="134">
                  <c:v>0.20721973094099999</c:v>
                </c:pt>
                <c:pt idx="135">
                  <c:v>0.16280387066300001</c:v>
                </c:pt>
                <c:pt idx="136">
                  <c:v>0.1797130522</c:v>
                </c:pt>
                <c:pt idx="137">
                  <c:v>0.22176645138699999</c:v>
                </c:pt>
                <c:pt idx="138">
                  <c:v>0.19933343913599999</c:v>
                </c:pt>
                <c:pt idx="139">
                  <c:v>0.139423848499</c:v>
                </c:pt>
                <c:pt idx="140">
                  <c:v>0.202015400703</c:v>
                </c:pt>
                <c:pt idx="141">
                  <c:v>0.18611987381699999</c:v>
                </c:pt>
                <c:pt idx="142">
                  <c:v>0.17786561264799999</c:v>
                </c:pt>
                <c:pt idx="143">
                  <c:v>0.16997307001699999</c:v>
                </c:pt>
                <c:pt idx="144">
                  <c:v>0.20097941235200001</c:v>
                </c:pt>
                <c:pt idx="145">
                  <c:v>0.17337413925</c:v>
                </c:pt>
                <c:pt idx="146">
                  <c:v>0.12743412371499999</c:v>
                </c:pt>
                <c:pt idx="147">
                  <c:v>0.19659717677800001</c:v>
                </c:pt>
                <c:pt idx="148">
                  <c:v>0.165711947626</c:v>
                </c:pt>
                <c:pt idx="149">
                  <c:v>0.18182276185099999</c:v>
                </c:pt>
                <c:pt idx="150">
                  <c:v>0.16002193815099999</c:v>
                </c:pt>
                <c:pt idx="151">
                  <c:v>0.17118794326199999</c:v>
                </c:pt>
                <c:pt idx="152">
                  <c:v>0.167103991161</c:v>
                </c:pt>
                <c:pt idx="153">
                  <c:v>0.121892454276</c:v>
                </c:pt>
                <c:pt idx="154">
                  <c:v>0.17615958770199999</c:v>
                </c:pt>
                <c:pt idx="155">
                  <c:v>0.186946950403</c:v>
                </c:pt>
                <c:pt idx="156">
                  <c:v>0.16450236314399999</c:v>
                </c:pt>
                <c:pt idx="157">
                  <c:v>0.16068430729800001</c:v>
                </c:pt>
                <c:pt idx="158">
                  <c:v>0.20081932948699999</c:v>
                </c:pt>
                <c:pt idx="159">
                  <c:v>0.14554282868499999</c:v>
                </c:pt>
                <c:pt idx="160">
                  <c:v>0.134868541674</c:v>
                </c:pt>
                <c:pt idx="161">
                  <c:v>0.189568504443</c:v>
                </c:pt>
                <c:pt idx="162">
                  <c:v>0.17807058424700001</c:v>
                </c:pt>
                <c:pt idx="163">
                  <c:v>0.17723606221300001</c:v>
                </c:pt>
                <c:pt idx="164">
                  <c:v>0.15689490749500001</c:v>
                </c:pt>
                <c:pt idx="165">
                  <c:v>0.19143208737100001</c:v>
                </c:pt>
                <c:pt idx="166">
                  <c:v>0.16833474014200001</c:v>
                </c:pt>
                <c:pt idx="167">
                  <c:v>0.14252088582399999</c:v>
                </c:pt>
                <c:pt idx="168">
                  <c:v>0.20351831701100001</c:v>
                </c:pt>
                <c:pt idx="169">
                  <c:v>0.179439252336</c:v>
                </c:pt>
                <c:pt idx="170">
                  <c:v>0.188602782957</c:v>
                </c:pt>
                <c:pt idx="171">
                  <c:v>0.16037085760799999</c:v>
                </c:pt>
                <c:pt idx="172">
                  <c:v>0.21701906862100001</c:v>
                </c:pt>
                <c:pt idx="173">
                  <c:v>0.19488018477499999</c:v>
                </c:pt>
                <c:pt idx="174">
                  <c:v>0.14870347020399999</c:v>
                </c:pt>
                <c:pt idx="175">
                  <c:v>0.21077897216899999</c:v>
                </c:pt>
                <c:pt idx="176">
                  <c:v>0.17164918414899999</c:v>
                </c:pt>
                <c:pt idx="177">
                  <c:v>0.18877761413800001</c:v>
                </c:pt>
                <c:pt idx="178">
                  <c:v>0.181236387103</c:v>
                </c:pt>
                <c:pt idx="179">
                  <c:v>0.20186965811900001</c:v>
                </c:pt>
                <c:pt idx="180">
                  <c:v>0.18539325842599999</c:v>
                </c:pt>
                <c:pt idx="181">
                  <c:v>0.14269046496000001</c:v>
                </c:pt>
                <c:pt idx="182">
                  <c:v>0.19554092627299999</c:v>
                </c:pt>
                <c:pt idx="183">
                  <c:v>0.177085584612</c:v>
                </c:pt>
                <c:pt idx="184">
                  <c:v>0.159458011176</c:v>
                </c:pt>
                <c:pt idx="185">
                  <c:v>0.13499369188300001</c:v>
                </c:pt>
                <c:pt idx="186">
                  <c:v>0.229013373435</c:v>
                </c:pt>
                <c:pt idx="187">
                  <c:v>0.151768010575</c:v>
                </c:pt>
                <c:pt idx="188">
                  <c:v>9.2547473357000004E-2</c:v>
                </c:pt>
                <c:pt idx="189">
                  <c:v>0.134037778193</c:v>
                </c:pt>
                <c:pt idx="190">
                  <c:v>0.118154788719</c:v>
                </c:pt>
                <c:pt idx="191">
                  <c:v>8.7312729921999996E-2</c:v>
                </c:pt>
                <c:pt idx="192">
                  <c:v>0.120829178491</c:v>
                </c:pt>
                <c:pt idx="193">
                  <c:v>0.17346883615299999</c:v>
                </c:pt>
                <c:pt idx="194">
                  <c:v>0.123847572218</c:v>
                </c:pt>
                <c:pt idx="195">
                  <c:v>7.8621571821999997E-2</c:v>
                </c:pt>
                <c:pt idx="196">
                  <c:v>0.10832128081799999</c:v>
                </c:pt>
                <c:pt idx="197">
                  <c:v>9.4909142835999993E-2</c:v>
                </c:pt>
                <c:pt idx="198">
                  <c:v>8.8691185911999995E-2</c:v>
                </c:pt>
                <c:pt idx="199">
                  <c:v>9.3811739212999998E-2</c:v>
                </c:pt>
                <c:pt idx="200">
                  <c:v>0.15973050321900001</c:v>
                </c:pt>
                <c:pt idx="201">
                  <c:v>8.9776119402000004E-2</c:v>
                </c:pt>
                <c:pt idx="202">
                  <c:v>6.3134999415999996E-2</c:v>
                </c:pt>
                <c:pt idx="203">
                  <c:v>8.3814935064000007E-2</c:v>
                </c:pt>
                <c:pt idx="204">
                  <c:v>7.0096253193999994E-2</c:v>
                </c:pt>
                <c:pt idx="205">
                  <c:v>6.6398501212E-2</c:v>
                </c:pt>
                <c:pt idx="206">
                  <c:v>7.8440714672000006E-2</c:v>
                </c:pt>
                <c:pt idx="207">
                  <c:v>0.14705012568299999</c:v>
                </c:pt>
                <c:pt idx="208">
                  <c:v>8.7925521909999999E-2</c:v>
                </c:pt>
                <c:pt idx="209">
                  <c:v>5.0868504476999997E-2</c:v>
                </c:pt>
                <c:pt idx="210">
                  <c:v>6.8337589032999996E-2</c:v>
                </c:pt>
                <c:pt idx="211">
                  <c:v>5.7824158994000001E-2</c:v>
                </c:pt>
                <c:pt idx="212">
                  <c:v>4.5055256446000003E-2</c:v>
                </c:pt>
                <c:pt idx="213">
                  <c:v>0.10405561993</c:v>
                </c:pt>
                <c:pt idx="214">
                  <c:v>0.10576478208499999</c:v>
                </c:pt>
                <c:pt idx="215">
                  <c:v>0.108405260994</c:v>
                </c:pt>
                <c:pt idx="216">
                  <c:v>5.4026279086000002E-2</c:v>
                </c:pt>
                <c:pt idx="217">
                  <c:v>3.0037174720999999E-2</c:v>
                </c:pt>
                <c:pt idx="218">
                  <c:v>4.8050576331000003E-2</c:v>
                </c:pt>
                <c:pt idx="219">
                  <c:v>3.9573215864999997E-2</c:v>
                </c:pt>
                <c:pt idx="220">
                  <c:v>5.1090714029999998E-2</c:v>
                </c:pt>
                <c:pt idx="221">
                  <c:v>8.5319849104999998E-2</c:v>
                </c:pt>
                <c:pt idx="222">
                  <c:v>3.8891889806000002E-2</c:v>
                </c:pt>
                <c:pt idx="223">
                  <c:v>2.8335873631E-2</c:v>
                </c:pt>
                <c:pt idx="224">
                  <c:v>3.9700065133999998E-2</c:v>
                </c:pt>
                <c:pt idx="225">
                  <c:v>3.1633977629999997E-2</c:v>
                </c:pt>
                <c:pt idx="226">
                  <c:v>2.6622538232999999E-2</c:v>
                </c:pt>
                <c:pt idx="227">
                  <c:v>4.0505426198000002E-2</c:v>
                </c:pt>
                <c:pt idx="228">
                  <c:v>6.5407339602E-2</c:v>
                </c:pt>
                <c:pt idx="229">
                  <c:v>3.2070175437999997E-2</c:v>
                </c:pt>
                <c:pt idx="230">
                  <c:v>2.2824886488999999E-2</c:v>
                </c:pt>
                <c:pt idx="231">
                  <c:v>2.8639502090000001E-2</c:v>
                </c:pt>
                <c:pt idx="232">
                  <c:v>2.5308497834999999E-2</c:v>
                </c:pt>
                <c:pt idx="233">
                  <c:v>2.1645250559E-2</c:v>
                </c:pt>
                <c:pt idx="234">
                  <c:v>3.3205112295999997E-2</c:v>
                </c:pt>
                <c:pt idx="235">
                  <c:v>5.7609964966000002E-2</c:v>
                </c:pt>
                <c:pt idx="236">
                  <c:v>3.6013960050000002E-2</c:v>
                </c:pt>
                <c:pt idx="237">
                  <c:v>1.7537105381E-2</c:v>
                </c:pt>
                <c:pt idx="238">
                  <c:v>2.5233644858999999E-2</c:v>
                </c:pt>
                <c:pt idx="239">
                  <c:v>2.0846538487999999E-2</c:v>
                </c:pt>
                <c:pt idx="240">
                  <c:v>1.8182122867000002E-2</c:v>
                </c:pt>
                <c:pt idx="241">
                  <c:v>2.6194581570999999E-2</c:v>
                </c:pt>
                <c:pt idx="242">
                  <c:v>5.5427046262999997E-2</c:v>
                </c:pt>
                <c:pt idx="243">
                  <c:v>1.5369082342E-2</c:v>
                </c:pt>
                <c:pt idx="244">
                  <c:v>1.4345882047E-2</c:v>
                </c:pt>
                <c:pt idx="245">
                  <c:v>1.8181276265000001E-2</c:v>
                </c:pt>
                <c:pt idx="246">
                  <c:v>1.5783132530000001E-2</c:v>
                </c:pt>
                <c:pt idx="247">
                  <c:v>1.329607046E-2</c:v>
                </c:pt>
                <c:pt idx="248">
                  <c:v>2.1310614738E-2</c:v>
                </c:pt>
                <c:pt idx="249">
                  <c:v>3.0324181788999999E-2</c:v>
                </c:pt>
                <c:pt idx="250">
                  <c:v>1.2531478594000001E-2</c:v>
                </c:pt>
                <c:pt idx="251">
                  <c:v>9.1641180219999997E-3</c:v>
                </c:pt>
                <c:pt idx="252">
                  <c:v>1.1878702527000001E-2</c:v>
                </c:pt>
                <c:pt idx="253">
                  <c:v>1.0968921389E-2</c:v>
                </c:pt>
                <c:pt idx="254">
                  <c:v>9.6582830799999998E-3</c:v>
                </c:pt>
                <c:pt idx="255">
                  <c:v>1.2556032763E-2</c:v>
                </c:pt>
                <c:pt idx="256">
                  <c:v>1.9890959199E-2</c:v>
                </c:pt>
                <c:pt idx="257">
                  <c:v>8.3034111309999992E-3</c:v>
                </c:pt>
                <c:pt idx="258">
                  <c:v>5.307656975E-3</c:v>
                </c:pt>
                <c:pt idx="259">
                  <c:v>7.8704078050000001E-3</c:v>
                </c:pt>
                <c:pt idx="260">
                  <c:v>6.0526122949999999E-3</c:v>
                </c:pt>
                <c:pt idx="261">
                  <c:v>5.1463020140000001E-3</c:v>
                </c:pt>
                <c:pt idx="262">
                  <c:v>5.8600539649999997E-3</c:v>
                </c:pt>
                <c:pt idx="263">
                  <c:v>1.2429611316999999E-2</c:v>
                </c:pt>
                <c:pt idx="264">
                  <c:v>6.3385962890000003E-3</c:v>
                </c:pt>
                <c:pt idx="265">
                  <c:v>4.1093544879999997E-3</c:v>
                </c:pt>
                <c:pt idx="266">
                  <c:v>5.5138395799999998E-3</c:v>
                </c:pt>
                <c:pt idx="267">
                  <c:v>4.6270132799999999E-3</c:v>
                </c:pt>
                <c:pt idx="268">
                  <c:v>4.6373934759999999E-3</c:v>
                </c:pt>
                <c:pt idx="269">
                  <c:v>4.4224915280000002E-3</c:v>
                </c:pt>
                <c:pt idx="270">
                  <c:v>8.5079892090000001E-3</c:v>
                </c:pt>
                <c:pt idx="271">
                  <c:v>4.5442908339999996E-3</c:v>
                </c:pt>
                <c:pt idx="272">
                  <c:v>3.0192046309999998E-3</c:v>
                </c:pt>
                <c:pt idx="273">
                  <c:v>4.4285667239999998E-3</c:v>
                </c:pt>
                <c:pt idx="274">
                  <c:v>3.3727725270000001E-3</c:v>
                </c:pt>
                <c:pt idx="275">
                  <c:v>3.3837579609999999E-3</c:v>
                </c:pt>
                <c:pt idx="276">
                  <c:v>3.1664059399999999E-3</c:v>
                </c:pt>
                <c:pt idx="277">
                  <c:v>4.8863250760000001E-3</c:v>
                </c:pt>
                <c:pt idx="278">
                  <c:v>4.2473544020000002E-3</c:v>
                </c:pt>
                <c:pt idx="279">
                  <c:v>1.887858783E-3</c:v>
                </c:pt>
                <c:pt idx="280">
                  <c:v>3.9084310440000002E-3</c:v>
                </c:pt>
                <c:pt idx="281">
                  <c:v>2.6196856370000001E-3</c:v>
                </c:pt>
                <c:pt idx="282">
                  <c:v>1.9355619169999999E-3</c:v>
                </c:pt>
                <c:pt idx="283">
                  <c:v>1.7831452250000001E-3</c:v>
                </c:pt>
                <c:pt idx="284">
                  <c:v>2.818363865E-3</c:v>
                </c:pt>
                <c:pt idx="285">
                  <c:v>1.505546751E-3</c:v>
                </c:pt>
                <c:pt idx="286">
                  <c:v>1.1051783589999999E-3</c:v>
                </c:pt>
                <c:pt idx="287">
                  <c:v>2.1662029849999999E-3</c:v>
                </c:pt>
                <c:pt idx="288">
                  <c:v>1.0356342729999999E-3</c:v>
                </c:pt>
                <c:pt idx="289">
                  <c:v>1.0452100870000001E-3</c:v>
                </c:pt>
                <c:pt idx="290">
                  <c:v>9.9596182700000002E-4</c:v>
                </c:pt>
                <c:pt idx="291">
                  <c:v>1.1910275919999999E-3</c:v>
                </c:pt>
                <c:pt idx="292">
                  <c:v>2.169921548E-3</c:v>
                </c:pt>
                <c:pt idx="293">
                  <c:v>6.9186457500000002E-4</c:v>
                </c:pt>
                <c:pt idx="294">
                  <c:v>9.6940170500000005E-4</c:v>
                </c:pt>
                <c:pt idx="295">
                  <c:v>1.1384511880000001E-3</c:v>
                </c:pt>
                <c:pt idx="296">
                  <c:v>8.2929597099999999E-4</c:v>
                </c:pt>
                <c:pt idx="297">
                  <c:v>1.280126043E-3</c:v>
                </c:pt>
                <c:pt idx="298">
                  <c:v>1.251368684E-3</c:v>
                </c:pt>
                <c:pt idx="299">
                  <c:v>2.0193151879999999E-3</c:v>
                </c:pt>
                <c:pt idx="300">
                  <c:v>7.9509313899999996E-4</c:v>
                </c:pt>
                <c:pt idx="301">
                  <c:v>1.4805648239999999E-3</c:v>
                </c:pt>
                <c:pt idx="302">
                  <c:v>1.2838736299999999E-3</c:v>
                </c:pt>
                <c:pt idx="303">
                  <c:v>1.30515325E-3</c:v>
                </c:pt>
                <c:pt idx="304">
                  <c:v>1.3172751220000001E-3</c:v>
                </c:pt>
                <c:pt idx="305">
                  <c:v>1.832259589E-3</c:v>
                </c:pt>
                <c:pt idx="306">
                  <c:v>2.9861031349999998E-3</c:v>
                </c:pt>
                <c:pt idx="307">
                  <c:v>3.1442663370000001E-3</c:v>
                </c:pt>
                <c:pt idx="308">
                  <c:v>3.5940195509999999E-3</c:v>
                </c:pt>
                <c:pt idx="309">
                  <c:v>3.4905310059999998E-3</c:v>
                </c:pt>
                <c:pt idx="310">
                  <c:v>3.3225745200000001E-3</c:v>
                </c:pt>
                <c:pt idx="311">
                  <c:v>2.1218074650000002E-3</c:v>
                </c:pt>
                <c:pt idx="312">
                  <c:v>2.262753702E-3</c:v>
                </c:pt>
                <c:pt idx="313">
                  <c:v>2.264737696E-3</c:v>
                </c:pt>
                <c:pt idx="314">
                  <c:v>1.9151652709999999E-3</c:v>
                </c:pt>
                <c:pt idx="315">
                  <c:v>4.057448315E-3</c:v>
                </c:pt>
                <c:pt idx="316">
                  <c:v>3.8844214249999999E-3</c:v>
                </c:pt>
                <c:pt idx="317">
                  <c:v>2.3240289760000001E-3</c:v>
                </c:pt>
                <c:pt idx="318">
                  <c:v>1.2921394839999999E-3</c:v>
                </c:pt>
                <c:pt idx="319">
                  <c:v>2.4363605810000001E-3</c:v>
                </c:pt>
                <c:pt idx="320">
                  <c:v>1.8102329390000001E-3</c:v>
                </c:pt>
                <c:pt idx="321">
                  <c:v>2.115244347E-3</c:v>
                </c:pt>
                <c:pt idx="322">
                  <c:v>4.830564297E-3</c:v>
                </c:pt>
                <c:pt idx="323">
                  <c:v>3.8543425590000001E-3</c:v>
                </c:pt>
                <c:pt idx="324">
                  <c:v>1.8186800859999999E-3</c:v>
                </c:pt>
                <c:pt idx="325">
                  <c:v>1.152310145E-3</c:v>
                </c:pt>
                <c:pt idx="326">
                  <c:v>1.3193656480000001E-3</c:v>
                </c:pt>
                <c:pt idx="327">
                  <c:v>9.82897582E-4</c:v>
                </c:pt>
                <c:pt idx="328">
                  <c:v>1.84893515E-3</c:v>
                </c:pt>
                <c:pt idx="329">
                  <c:v>3.128760529E-3</c:v>
                </c:pt>
                <c:pt idx="330">
                  <c:v>2.6443896859999999E-3</c:v>
                </c:pt>
                <c:pt idx="331">
                  <c:v>2.0168221300000001E-3</c:v>
                </c:pt>
                <c:pt idx="332">
                  <c:v>9.4952671999999996E-4</c:v>
                </c:pt>
                <c:pt idx="333">
                  <c:v>1.336378656E-3</c:v>
                </c:pt>
                <c:pt idx="334">
                  <c:v>1.353537354E-3</c:v>
                </c:pt>
                <c:pt idx="335">
                  <c:v>1.388075563E-3</c:v>
                </c:pt>
                <c:pt idx="336">
                  <c:v>2.858226149E-3</c:v>
                </c:pt>
                <c:pt idx="337">
                  <c:v>2.924926876E-3</c:v>
                </c:pt>
                <c:pt idx="338">
                  <c:v>1.746316747E-3</c:v>
                </c:pt>
                <c:pt idx="339">
                  <c:v>1.229747594E-3</c:v>
                </c:pt>
                <c:pt idx="340">
                  <c:v>1.983429575E-3</c:v>
                </c:pt>
                <c:pt idx="341">
                  <c:v>1.553537284E-3</c:v>
                </c:pt>
                <c:pt idx="342">
                  <c:v>1.9606969380000002E-3</c:v>
                </c:pt>
                <c:pt idx="343">
                  <c:v>2.9153651639999998E-3</c:v>
                </c:pt>
                <c:pt idx="344">
                  <c:v>3.414264036E-3</c:v>
                </c:pt>
                <c:pt idx="345">
                  <c:v>1.8544600929999999E-3</c:v>
                </c:pt>
                <c:pt idx="346">
                  <c:v>1.3774499949999999E-3</c:v>
                </c:pt>
                <c:pt idx="347">
                  <c:v>1.355961858E-3</c:v>
                </c:pt>
                <c:pt idx="348">
                  <c:v>1.141482075E-3</c:v>
                </c:pt>
                <c:pt idx="349">
                  <c:v>2.1317655499999998E-3</c:v>
                </c:pt>
                <c:pt idx="350">
                  <c:v>4.4218142829999998E-3</c:v>
                </c:pt>
                <c:pt idx="351">
                  <c:v>2.779755245E-3</c:v>
                </c:pt>
                <c:pt idx="352">
                  <c:v>1.7430804979999999E-3</c:v>
                </c:pt>
                <c:pt idx="353">
                  <c:v>1.227866097E-3</c:v>
                </c:pt>
                <c:pt idx="354">
                  <c:v>1.4482876120000001E-3</c:v>
                </c:pt>
                <c:pt idx="355">
                  <c:v>1.291113908E-3</c:v>
                </c:pt>
                <c:pt idx="356">
                  <c:v>2.2876315380000001E-3</c:v>
                </c:pt>
                <c:pt idx="357">
                  <c:v>3.2992874939999999E-3</c:v>
                </c:pt>
                <c:pt idx="358">
                  <c:v>3.1758178680000001E-3</c:v>
                </c:pt>
                <c:pt idx="359">
                  <c:v>2.854366573E-3</c:v>
                </c:pt>
                <c:pt idx="360">
                  <c:v>1.7691980380000001E-3</c:v>
                </c:pt>
                <c:pt idx="361">
                  <c:v>2.53664036E-3</c:v>
                </c:pt>
                <c:pt idx="362">
                  <c:v>2.3149636670000001E-3</c:v>
                </c:pt>
                <c:pt idx="363">
                  <c:v>3.8860103619999999E-3</c:v>
                </c:pt>
                <c:pt idx="364">
                  <c:v>3.3416417860000001E-3</c:v>
                </c:pt>
                <c:pt idx="365">
                  <c:v>2.9747265350000001E-3</c:v>
                </c:pt>
                <c:pt idx="366">
                  <c:v>2.5722405449999999E-3</c:v>
                </c:pt>
                <c:pt idx="367">
                  <c:v>4.5083658760000003E-3</c:v>
                </c:pt>
                <c:pt idx="368">
                  <c:v>6.5158371039999996E-3</c:v>
                </c:pt>
                <c:pt idx="369">
                  <c:v>5.035669324E-3</c:v>
                </c:pt>
                <c:pt idx="370">
                  <c:v>4.508695341E-3</c:v>
                </c:pt>
                <c:pt idx="371">
                  <c:v>8.5991498190000001E-3</c:v>
                </c:pt>
                <c:pt idx="372">
                  <c:v>6.933261764E-3</c:v>
                </c:pt>
                <c:pt idx="373">
                  <c:v>5.8439661040000004E-3</c:v>
                </c:pt>
                <c:pt idx="374">
                  <c:v>6.0756856839999998E-3</c:v>
                </c:pt>
                <c:pt idx="375">
                  <c:v>6.4281887979999999E-3</c:v>
                </c:pt>
                <c:pt idx="376">
                  <c:v>4.6303563009999996E-3</c:v>
                </c:pt>
                <c:pt idx="377">
                  <c:v>1.0159522323999999E-2</c:v>
                </c:pt>
                <c:pt idx="378">
                  <c:v>1.3011531788E-2</c:v>
                </c:pt>
                <c:pt idx="379">
                  <c:v>1.1882744589999999E-2</c:v>
                </c:pt>
                <c:pt idx="380">
                  <c:v>8.8767736069999999E-3</c:v>
                </c:pt>
                <c:pt idx="381">
                  <c:v>4.4292371629999997E-3</c:v>
                </c:pt>
                <c:pt idx="382">
                  <c:v>6.5627563570000002E-3</c:v>
                </c:pt>
                <c:pt idx="383">
                  <c:v>6.7705299940000003E-3</c:v>
                </c:pt>
                <c:pt idx="384">
                  <c:v>8.9124363389999992E-3</c:v>
                </c:pt>
                <c:pt idx="385">
                  <c:v>1.4396887159E-2</c:v>
                </c:pt>
                <c:pt idx="386">
                  <c:v>1.2393493415E-2</c:v>
                </c:pt>
                <c:pt idx="387">
                  <c:v>7.6276914159999999E-3</c:v>
                </c:pt>
                <c:pt idx="388">
                  <c:v>5.349428721E-3</c:v>
                </c:pt>
                <c:pt idx="389">
                  <c:v>9.5756054470000004E-3</c:v>
                </c:pt>
                <c:pt idx="390">
                  <c:v>8.1380208329999999E-3</c:v>
                </c:pt>
                <c:pt idx="391">
                  <c:v>1.2110178882E-2</c:v>
                </c:pt>
                <c:pt idx="392">
                  <c:v>1.6053082191E-2</c:v>
                </c:pt>
                <c:pt idx="393">
                  <c:v>1.2435815147E-2</c:v>
                </c:pt>
                <c:pt idx="394">
                  <c:v>1.508385781E-2</c:v>
                </c:pt>
                <c:pt idx="395">
                  <c:v>9.7450210510000006E-3</c:v>
                </c:pt>
                <c:pt idx="396">
                  <c:v>1.5037160799000001E-2</c:v>
                </c:pt>
                <c:pt idx="397">
                  <c:v>1.3482181193000001E-2</c:v>
                </c:pt>
                <c:pt idx="398">
                  <c:v>1.7718457888999999E-2</c:v>
                </c:pt>
                <c:pt idx="399">
                  <c:v>3.0435275447000001E-2</c:v>
                </c:pt>
                <c:pt idx="400">
                  <c:v>2.3891613655000001E-2</c:v>
                </c:pt>
                <c:pt idx="401">
                  <c:v>1.7641914756E-2</c:v>
                </c:pt>
                <c:pt idx="402">
                  <c:v>1.1609510958E-2</c:v>
                </c:pt>
                <c:pt idx="403">
                  <c:v>2.1345098973999999E-2</c:v>
                </c:pt>
                <c:pt idx="404">
                  <c:v>1.4220958137E-2</c:v>
                </c:pt>
                <c:pt idx="405">
                  <c:v>2.9711962631999999E-2</c:v>
                </c:pt>
                <c:pt idx="406">
                  <c:v>3.5626050004000001E-2</c:v>
                </c:pt>
                <c:pt idx="407">
                  <c:v>2.9512697322999999E-2</c:v>
                </c:pt>
                <c:pt idx="408">
                  <c:v>2.7815807926999999E-2</c:v>
                </c:pt>
                <c:pt idx="409">
                  <c:v>1.8690805463999999E-2</c:v>
                </c:pt>
                <c:pt idx="410">
                  <c:v>2.7510252983E-2</c:v>
                </c:pt>
                <c:pt idx="411">
                  <c:v>2.7386314107000001E-2</c:v>
                </c:pt>
                <c:pt idx="412">
                  <c:v>4.2896125159000001E-2</c:v>
                </c:pt>
                <c:pt idx="413">
                  <c:v>5.9532895741E-2</c:v>
                </c:pt>
                <c:pt idx="414">
                  <c:v>5.3334646186E-2</c:v>
                </c:pt>
                <c:pt idx="415">
                  <c:v>4.5460493599999999E-2</c:v>
                </c:pt>
                <c:pt idx="416">
                  <c:v>3.5582214201000002E-2</c:v>
                </c:pt>
                <c:pt idx="417">
                  <c:v>4.6434269032999999E-2</c:v>
                </c:pt>
                <c:pt idx="418">
                  <c:v>4.5669878107000003E-2</c:v>
                </c:pt>
                <c:pt idx="419">
                  <c:v>5.0837711388000001E-2</c:v>
                </c:pt>
                <c:pt idx="420">
                  <c:v>5.7934610051E-2</c:v>
                </c:pt>
                <c:pt idx="421">
                  <c:v>4.5676864494999997E-2</c:v>
                </c:pt>
                <c:pt idx="422">
                  <c:v>6.4712830826999995E-2</c:v>
                </c:pt>
                <c:pt idx="423">
                  <c:v>4.8671781015999997E-2</c:v>
                </c:pt>
                <c:pt idx="424">
                  <c:v>7.9662832072000006E-2</c:v>
                </c:pt>
                <c:pt idx="425">
                  <c:v>4.8035298035E-2</c:v>
                </c:pt>
                <c:pt idx="426">
                  <c:v>6.7579034398000004E-2</c:v>
                </c:pt>
                <c:pt idx="427">
                  <c:v>0.103106329176</c:v>
                </c:pt>
                <c:pt idx="428">
                  <c:v>0.12144621034600001</c:v>
                </c:pt>
                <c:pt idx="429">
                  <c:v>0.101250892386</c:v>
                </c:pt>
                <c:pt idx="430">
                  <c:v>7.6366406398000006E-2</c:v>
                </c:pt>
                <c:pt idx="431">
                  <c:v>8.1024375191999995E-2</c:v>
                </c:pt>
                <c:pt idx="432">
                  <c:v>7.3536324227999994E-2</c:v>
                </c:pt>
                <c:pt idx="433">
                  <c:v>9.3646115759999995E-2</c:v>
                </c:pt>
                <c:pt idx="434">
                  <c:v>0.133900785227</c:v>
                </c:pt>
                <c:pt idx="435">
                  <c:v>0.12623676445000001</c:v>
                </c:pt>
                <c:pt idx="436">
                  <c:v>9.0369270735999999E-2</c:v>
                </c:pt>
                <c:pt idx="437">
                  <c:v>9.7763835263000004E-2</c:v>
                </c:pt>
                <c:pt idx="438">
                  <c:v>0.11324601992</c:v>
                </c:pt>
                <c:pt idx="439">
                  <c:v>0.114340846573</c:v>
                </c:pt>
                <c:pt idx="440">
                  <c:v>9.5219623924000005E-2</c:v>
                </c:pt>
                <c:pt idx="441">
                  <c:v>0.151941556453</c:v>
                </c:pt>
                <c:pt idx="442">
                  <c:v>0.152407054337</c:v>
                </c:pt>
                <c:pt idx="443">
                  <c:v>0.118793748982</c:v>
                </c:pt>
                <c:pt idx="444">
                  <c:v>0.13626214213499999</c:v>
                </c:pt>
                <c:pt idx="445">
                  <c:v>0.13387345679000001</c:v>
                </c:pt>
                <c:pt idx="446">
                  <c:v>0.133420897998</c:v>
                </c:pt>
                <c:pt idx="447">
                  <c:v>0.115224347049</c:v>
                </c:pt>
                <c:pt idx="448">
                  <c:v>0.187541572435</c:v>
                </c:pt>
                <c:pt idx="449">
                  <c:v>0.132934364985</c:v>
                </c:pt>
                <c:pt idx="450">
                  <c:v>0.193075137117</c:v>
                </c:pt>
                <c:pt idx="451">
                  <c:v>0.14115847298500001</c:v>
                </c:pt>
                <c:pt idx="452">
                  <c:v>0.13317244945699999</c:v>
                </c:pt>
                <c:pt idx="453">
                  <c:v>0.14357371079100001</c:v>
                </c:pt>
                <c:pt idx="454">
                  <c:v>0.13485414710999999</c:v>
                </c:pt>
                <c:pt idx="455">
                  <c:v>0.144234169139</c:v>
                </c:pt>
                <c:pt idx="456">
                  <c:v>0.15311404835100001</c:v>
                </c:pt>
                <c:pt idx="457">
                  <c:v>0.13040785784299999</c:v>
                </c:pt>
                <c:pt idx="458">
                  <c:v>0.12593988211500001</c:v>
                </c:pt>
                <c:pt idx="459">
                  <c:v>0.124476987447</c:v>
                </c:pt>
                <c:pt idx="460">
                  <c:v>0.129402567478</c:v>
                </c:pt>
                <c:pt idx="461">
                  <c:v>0.125292096219</c:v>
                </c:pt>
                <c:pt idx="462">
                  <c:v>0.144057876768</c:v>
                </c:pt>
                <c:pt idx="463">
                  <c:v>0.13617411926699999</c:v>
                </c:pt>
                <c:pt idx="464">
                  <c:v>0.120396001537</c:v>
                </c:pt>
                <c:pt idx="465">
                  <c:v>0.103640606325</c:v>
                </c:pt>
                <c:pt idx="466">
                  <c:v>0.123458797387</c:v>
                </c:pt>
                <c:pt idx="467">
                  <c:v>0.121732803492</c:v>
                </c:pt>
                <c:pt idx="468">
                  <c:v>0.105363343144</c:v>
                </c:pt>
                <c:pt idx="469">
                  <c:v>0.13771150084</c:v>
                </c:pt>
                <c:pt idx="470">
                  <c:v>0.121189041464</c:v>
                </c:pt>
                <c:pt idx="471">
                  <c:v>9.2312233795000004E-2</c:v>
                </c:pt>
                <c:pt idx="472">
                  <c:v>9.1170198876999994E-2</c:v>
                </c:pt>
                <c:pt idx="473">
                  <c:v>0.107401934443</c:v>
                </c:pt>
                <c:pt idx="474">
                  <c:v>0.119295782254</c:v>
                </c:pt>
                <c:pt idx="475">
                  <c:v>9.5594520776000003E-2</c:v>
                </c:pt>
                <c:pt idx="476">
                  <c:v>0.12664004563600001</c:v>
                </c:pt>
                <c:pt idx="477">
                  <c:v>8.8101942441999995E-2</c:v>
                </c:pt>
                <c:pt idx="478">
                  <c:v>7.8399408798000003E-2</c:v>
                </c:pt>
                <c:pt idx="479">
                  <c:v>9.6709268390000006E-2</c:v>
                </c:pt>
                <c:pt idx="480">
                  <c:v>6.8965517241000002E-2</c:v>
                </c:pt>
                <c:pt idx="481">
                  <c:v>8.2469848819000005E-2</c:v>
                </c:pt>
                <c:pt idx="482">
                  <c:v>0.10074537865200001</c:v>
                </c:pt>
                <c:pt idx="483">
                  <c:v>0.127985620277</c:v>
                </c:pt>
                <c:pt idx="484">
                  <c:v>0.11954322708200001</c:v>
                </c:pt>
                <c:pt idx="485">
                  <c:v>0.121717511783</c:v>
                </c:pt>
                <c:pt idx="486">
                  <c:v>0.12686478806500001</c:v>
                </c:pt>
                <c:pt idx="487">
                  <c:v>0.106141199226</c:v>
                </c:pt>
                <c:pt idx="488">
                  <c:v>8.3509108341000005E-2</c:v>
                </c:pt>
                <c:pt idx="489">
                  <c:v>9.1005458072000001E-2</c:v>
                </c:pt>
                <c:pt idx="490">
                  <c:v>0.112796741115</c:v>
                </c:pt>
                <c:pt idx="491">
                  <c:v>0.11033433400500001</c:v>
                </c:pt>
                <c:pt idx="492">
                  <c:v>9.0709087832000004E-2</c:v>
                </c:pt>
                <c:pt idx="493">
                  <c:v>7.9204153188999996E-2</c:v>
                </c:pt>
                <c:pt idx="494">
                  <c:v>8.8737681838999993E-2</c:v>
                </c:pt>
                <c:pt idx="495">
                  <c:v>0.104473131191</c:v>
                </c:pt>
                <c:pt idx="496">
                  <c:v>7.7467641852999994E-2</c:v>
                </c:pt>
                <c:pt idx="497">
                  <c:v>0.133866458617</c:v>
                </c:pt>
                <c:pt idx="498">
                  <c:v>0.14549012348900001</c:v>
                </c:pt>
                <c:pt idx="499">
                  <c:v>0.140575781993</c:v>
                </c:pt>
                <c:pt idx="500">
                  <c:v>0.14281141296200001</c:v>
                </c:pt>
                <c:pt idx="501">
                  <c:v>0.13866746879200001</c:v>
                </c:pt>
                <c:pt idx="502">
                  <c:v>0.20295085447399999</c:v>
                </c:pt>
                <c:pt idx="503">
                  <c:v>0.16091114249899999</c:v>
                </c:pt>
                <c:pt idx="504">
                  <c:v>0.222082810539</c:v>
                </c:pt>
                <c:pt idx="505">
                  <c:v>0.226833054693</c:v>
                </c:pt>
                <c:pt idx="506">
                  <c:v>0.19780470670799999</c:v>
                </c:pt>
                <c:pt idx="507">
                  <c:v>0.168490818436</c:v>
                </c:pt>
                <c:pt idx="508">
                  <c:v>0.18159827987800001</c:v>
                </c:pt>
                <c:pt idx="509">
                  <c:v>0.21456634544100001</c:v>
                </c:pt>
                <c:pt idx="510">
                  <c:v>0.18926206711499999</c:v>
                </c:pt>
                <c:pt idx="511">
                  <c:v>0.229834992317</c:v>
                </c:pt>
                <c:pt idx="512">
                  <c:v>0.32443220313999999</c:v>
                </c:pt>
                <c:pt idx="513">
                  <c:v>0.19017879188299999</c:v>
                </c:pt>
                <c:pt idx="514">
                  <c:v>0.230581409086</c:v>
                </c:pt>
                <c:pt idx="515">
                  <c:v>0.140345839059</c:v>
                </c:pt>
                <c:pt idx="516">
                  <c:v>0.314392924149</c:v>
                </c:pt>
                <c:pt idx="517">
                  <c:v>0.17695186834900001</c:v>
                </c:pt>
                <c:pt idx="518">
                  <c:v>0.302314361724</c:v>
                </c:pt>
                <c:pt idx="519">
                  <c:v>0.25692836715200001</c:v>
                </c:pt>
                <c:pt idx="520">
                  <c:v>0.20272973102700001</c:v>
                </c:pt>
                <c:pt idx="521">
                  <c:v>0.16688916149499999</c:v>
                </c:pt>
                <c:pt idx="522">
                  <c:v>0.25480693583399999</c:v>
                </c:pt>
                <c:pt idx="523">
                  <c:v>0.17867352773</c:v>
                </c:pt>
                <c:pt idx="524">
                  <c:v>0.20046184087400001</c:v>
                </c:pt>
                <c:pt idx="525">
                  <c:v>0.26498197886300001</c:v>
                </c:pt>
                <c:pt idx="526">
                  <c:v>0.25080181375799998</c:v>
                </c:pt>
                <c:pt idx="527">
                  <c:v>0.17467384551599999</c:v>
                </c:pt>
                <c:pt idx="528">
                  <c:v>0.18328368182099999</c:v>
                </c:pt>
                <c:pt idx="529">
                  <c:v>0.178830227743</c:v>
                </c:pt>
                <c:pt idx="530">
                  <c:v>0.22044839919699999</c:v>
                </c:pt>
                <c:pt idx="531">
                  <c:v>0.168178993163</c:v>
                </c:pt>
                <c:pt idx="532">
                  <c:v>0.26367791942300001</c:v>
                </c:pt>
                <c:pt idx="533">
                  <c:v>0.20687070580799999</c:v>
                </c:pt>
                <c:pt idx="534">
                  <c:v>0.17000190585</c:v>
                </c:pt>
                <c:pt idx="535">
                  <c:v>0.15814995925</c:v>
                </c:pt>
                <c:pt idx="536">
                  <c:v>0.190282131661</c:v>
                </c:pt>
                <c:pt idx="537">
                  <c:v>0.18736722843699999</c:v>
                </c:pt>
                <c:pt idx="538">
                  <c:v>0.207564575645</c:v>
                </c:pt>
                <c:pt idx="539">
                  <c:v>0.23572328712599999</c:v>
                </c:pt>
                <c:pt idx="540">
                  <c:v>0.20788277699400001</c:v>
                </c:pt>
                <c:pt idx="541">
                  <c:v>0.16752098655299999</c:v>
                </c:pt>
                <c:pt idx="542">
                  <c:v>0.16386953768199999</c:v>
                </c:pt>
                <c:pt idx="543">
                  <c:v>0.189847189847</c:v>
                </c:pt>
                <c:pt idx="544">
                  <c:v>0.176692517291</c:v>
                </c:pt>
                <c:pt idx="545">
                  <c:v>0.16660876815100001</c:v>
                </c:pt>
                <c:pt idx="546">
                  <c:v>0.23563371524999999</c:v>
                </c:pt>
                <c:pt idx="547">
                  <c:v>0.215679930982</c:v>
                </c:pt>
                <c:pt idx="548">
                  <c:v>0.18173697270399999</c:v>
                </c:pt>
                <c:pt idx="549">
                  <c:v>0.17138759411900001</c:v>
                </c:pt>
                <c:pt idx="550">
                  <c:v>0.18502415458900001</c:v>
                </c:pt>
                <c:pt idx="551">
                  <c:v>0.17940011318599999</c:v>
                </c:pt>
                <c:pt idx="552">
                  <c:v>0.21410357865099999</c:v>
                </c:pt>
                <c:pt idx="553">
                  <c:v>0.23639301221799999</c:v>
                </c:pt>
                <c:pt idx="554">
                  <c:v>0.21805418449</c:v>
                </c:pt>
                <c:pt idx="555">
                  <c:v>0.19858387799499999</c:v>
                </c:pt>
                <c:pt idx="556">
                  <c:v>0.18750641091299999</c:v>
                </c:pt>
                <c:pt idx="557">
                  <c:v>0.19053030302999999</c:v>
                </c:pt>
                <c:pt idx="558">
                  <c:v>0.21850132625900001</c:v>
                </c:pt>
                <c:pt idx="559">
                  <c:v>0.227793974732</c:v>
                </c:pt>
                <c:pt idx="560">
                  <c:v>0.25024892133999999</c:v>
                </c:pt>
                <c:pt idx="561">
                  <c:v>0.23345611583799999</c:v>
                </c:pt>
                <c:pt idx="562">
                  <c:v>0.22403795466500001</c:v>
                </c:pt>
                <c:pt idx="563">
                  <c:v>0.230271194722</c:v>
                </c:pt>
                <c:pt idx="564">
                  <c:v>0.25238322211600001</c:v>
                </c:pt>
                <c:pt idx="565">
                  <c:v>0.18854850474099999</c:v>
                </c:pt>
                <c:pt idx="566">
                  <c:v>0.23596780850099999</c:v>
                </c:pt>
                <c:pt idx="567">
                  <c:v>0.249713105347</c:v>
                </c:pt>
                <c:pt idx="568">
                  <c:v>0.210052513128</c:v>
                </c:pt>
                <c:pt idx="569">
                  <c:v>0.190843830421</c:v>
                </c:pt>
                <c:pt idx="570">
                  <c:v>0.19785600847000001</c:v>
                </c:pt>
                <c:pt idx="571">
                  <c:v>0.20453900709200001</c:v>
                </c:pt>
                <c:pt idx="572">
                  <c:v>0.18203497615200001</c:v>
                </c:pt>
                <c:pt idx="573">
                  <c:v>0.20621341737900001</c:v>
                </c:pt>
                <c:pt idx="574">
                  <c:v>0.20606478290800001</c:v>
                </c:pt>
                <c:pt idx="575">
                  <c:v>0.18489347966399999</c:v>
                </c:pt>
                <c:pt idx="576">
                  <c:v>0.15951172678600001</c:v>
                </c:pt>
                <c:pt idx="577">
                  <c:v>0.17608695652100001</c:v>
                </c:pt>
                <c:pt idx="578">
                  <c:v>0.175904414205</c:v>
                </c:pt>
                <c:pt idx="579">
                  <c:v>0.187596899224</c:v>
                </c:pt>
                <c:pt idx="580">
                  <c:v>0.16807398472000001</c:v>
                </c:pt>
                <c:pt idx="581">
                  <c:v>0.18834207913699999</c:v>
                </c:pt>
                <c:pt idx="582">
                  <c:v>0.15842386897999999</c:v>
                </c:pt>
                <c:pt idx="583">
                  <c:v>0.16228305600199999</c:v>
                </c:pt>
                <c:pt idx="584">
                  <c:v>0.14224777448000001</c:v>
                </c:pt>
                <c:pt idx="585">
                  <c:v>0.159825644751</c:v>
                </c:pt>
                <c:pt idx="586">
                  <c:v>0.164117647058</c:v>
                </c:pt>
                <c:pt idx="587">
                  <c:v>0.142102736437</c:v>
                </c:pt>
                <c:pt idx="588">
                  <c:v>0.13730017761900001</c:v>
                </c:pt>
                <c:pt idx="589">
                  <c:v>0.120170840613</c:v>
                </c:pt>
                <c:pt idx="590">
                  <c:v>0.11856091578</c:v>
                </c:pt>
                <c:pt idx="591">
                  <c:v>0.124644280022</c:v>
                </c:pt>
                <c:pt idx="592">
                  <c:v>0.16087613293</c:v>
                </c:pt>
                <c:pt idx="593">
                  <c:v>0.10252100840300001</c:v>
                </c:pt>
                <c:pt idx="594">
                  <c:v>0.12580645161199999</c:v>
                </c:pt>
                <c:pt idx="595">
                  <c:v>0.12738193869</c:v>
                </c:pt>
                <c:pt idx="596">
                  <c:v>0.12750619508800001</c:v>
                </c:pt>
                <c:pt idx="597">
                  <c:v>9.6861798430000007E-2</c:v>
                </c:pt>
                <c:pt idx="598">
                  <c:v>9.9588719152999994E-2</c:v>
                </c:pt>
                <c:pt idx="599">
                  <c:v>9.1676718938000001E-2</c:v>
                </c:pt>
                <c:pt idx="600">
                  <c:v>9.7154072620000004E-2</c:v>
                </c:pt>
                <c:pt idx="601">
                  <c:v>9.8382749325999996E-2</c:v>
                </c:pt>
                <c:pt idx="602">
                  <c:v>9.2286501376999994E-2</c:v>
                </c:pt>
                <c:pt idx="603">
                  <c:v>9.2052980132000001E-2</c:v>
                </c:pt>
                <c:pt idx="604">
                  <c:v>7.7891156461999997E-2</c:v>
                </c:pt>
                <c:pt idx="605">
                  <c:v>8.3578792341000005E-2</c:v>
                </c:pt>
                <c:pt idx="606">
                  <c:v>7.2866065231999996E-2</c:v>
                </c:pt>
                <c:pt idx="607">
                  <c:v>8.3236994218999993E-2</c:v>
                </c:pt>
                <c:pt idx="608">
                  <c:v>8.8262910797999999E-2</c:v>
                </c:pt>
                <c:pt idx="609">
                  <c:v>8.0114449212999997E-2</c:v>
                </c:pt>
                <c:pt idx="610">
                  <c:v>7.4032318676999997E-2</c:v>
                </c:pt>
                <c:pt idx="611">
                  <c:v>6.2354583526999997E-2</c:v>
                </c:pt>
                <c:pt idx="612">
                  <c:v>5.9443911792000002E-2</c:v>
                </c:pt>
                <c:pt idx="613">
                  <c:v>4.5138888888000002E-2</c:v>
                </c:pt>
                <c:pt idx="614">
                  <c:v>1.8302828617999999E-2</c:v>
                </c:pt>
                <c:pt idx="615">
                  <c:v>7.8147612155999996E-2</c:v>
                </c:pt>
                <c:pt idx="616">
                  <c:v>7.2228443448999993E-2</c:v>
                </c:pt>
                <c:pt idx="617">
                  <c:v>6.1117578579E-2</c:v>
                </c:pt>
                <c:pt idx="618">
                  <c:v>4.9112426034999997E-2</c:v>
                </c:pt>
                <c:pt idx="619">
                  <c:v>4.5536249250999999E-2</c:v>
                </c:pt>
                <c:pt idx="620">
                  <c:v>2.8148148147999999E-2</c:v>
                </c:pt>
                <c:pt idx="621">
                  <c:v>1.6666666665999998E-2</c:v>
                </c:pt>
                <c:pt idx="622">
                  <c:v>5.3385416666000003E-2</c:v>
                </c:pt>
                <c:pt idx="623">
                  <c:v>5.5918663761E-2</c:v>
                </c:pt>
                <c:pt idx="624">
                  <c:v>3.6106750392000002E-2</c:v>
                </c:pt>
                <c:pt idx="625">
                  <c:v>3.3381712626000003E-2</c:v>
                </c:pt>
                <c:pt idx="626">
                  <c:v>3.4965034965000003E-2</c:v>
                </c:pt>
                <c:pt idx="627">
                  <c:v>3.5714285714000003E-2</c:v>
                </c:pt>
                <c:pt idx="628">
                  <c:v>1.1904761904E-2</c:v>
                </c:pt>
                <c:pt idx="629">
                  <c:v>3.9920159679999997E-2</c:v>
                </c:pt>
                <c:pt idx="630">
                  <c:v>2.28198859E-2</c:v>
                </c:pt>
                <c:pt idx="631">
                  <c:v>4.1228070174999999E-2</c:v>
                </c:pt>
                <c:pt idx="632">
                  <c:v>2.5641025641000001E-2</c:v>
                </c:pt>
                <c:pt idx="633">
                  <c:v>2.7363184079E-2</c:v>
                </c:pt>
                <c:pt idx="634">
                  <c:v>1.3628620102E-2</c:v>
                </c:pt>
                <c:pt idx="635">
                  <c:v>4.2735042730000002E-3</c:v>
                </c:pt>
                <c:pt idx="636">
                  <c:v>3.4660766960999997E-2</c:v>
                </c:pt>
                <c:pt idx="637">
                  <c:v>4.1509433961999999E-2</c:v>
                </c:pt>
                <c:pt idx="638">
                  <c:v>2.6435733818999999E-2</c:v>
                </c:pt>
                <c:pt idx="639">
                  <c:v>3.4606205250000001E-2</c:v>
                </c:pt>
                <c:pt idx="640">
                  <c:v>4.0181956026999997E-2</c:v>
                </c:pt>
                <c:pt idx="641">
                  <c:v>2.2988505746999999E-2</c:v>
                </c:pt>
                <c:pt idx="642">
                  <c:v>1.7301038062E-2</c:v>
                </c:pt>
                <c:pt idx="643">
                  <c:v>6.0018467220000003E-2</c:v>
                </c:pt>
                <c:pt idx="644">
                  <c:v>6.0572687223999999E-2</c:v>
                </c:pt>
                <c:pt idx="645">
                  <c:v>6.7005076142000006E-2</c:v>
                </c:pt>
                <c:pt idx="646">
                  <c:v>5.5798687089000001E-2</c:v>
                </c:pt>
                <c:pt idx="647">
                  <c:v>3.6115569823000002E-2</c:v>
                </c:pt>
                <c:pt idx="648">
                  <c:v>1.9801980197999999E-2</c:v>
                </c:pt>
                <c:pt idx="649">
                  <c:v>3.4351145037999999E-2</c:v>
                </c:pt>
                <c:pt idx="650">
                  <c:v>5.6962025316000003E-2</c:v>
                </c:pt>
                <c:pt idx="651">
                  <c:v>7.1774975751000003E-2</c:v>
                </c:pt>
                <c:pt idx="652">
                  <c:v>7.3198198197999997E-2</c:v>
                </c:pt>
                <c:pt idx="653">
                  <c:v>4.5739910313000003E-2</c:v>
                </c:pt>
                <c:pt idx="654">
                  <c:v>4.8698572628000002E-2</c:v>
                </c:pt>
                <c:pt idx="655">
                  <c:v>4.0776699029000003E-2</c:v>
                </c:pt>
                <c:pt idx="656">
                  <c:v>3.7151702786000003E-2</c:v>
                </c:pt>
                <c:pt idx="657">
                  <c:v>9.1066782306999994E-2</c:v>
                </c:pt>
                <c:pt idx="658">
                  <c:v>0.104058272632</c:v>
                </c:pt>
                <c:pt idx="659">
                  <c:v>8.7321578504999997E-2</c:v>
                </c:pt>
                <c:pt idx="660">
                  <c:v>0.13064361191099999</c:v>
                </c:pt>
                <c:pt idx="661">
                  <c:v>0.110445205479</c:v>
                </c:pt>
                <c:pt idx="662">
                  <c:v>9.3126385808999998E-2</c:v>
                </c:pt>
                <c:pt idx="663">
                  <c:v>5.859375E-2</c:v>
                </c:pt>
                <c:pt idx="664">
                  <c:v>0.15126050420100001</c:v>
                </c:pt>
                <c:pt idx="665">
                  <c:v>0.17482517482500001</c:v>
                </c:pt>
                <c:pt idx="666">
                  <c:v>0.111536010197</c:v>
                </c:pt>
                <c:pt idx="667">
                  <c:v>0.10623841877699999</c:v>
                </c:pt>
                <c:pt idx="668">
                  <c:v>0.11659877800399999</c:v>
                </c:pt>
                <c:pt idx="669">
                  <c:v>8.6890243901999994E-2</c:v>
                </c:pt>
                <c:pt idx="670">
                  <c:v>5.3164556962000002E-2</c:v>
                </c:pt>
                <c:pt idx="671">
                  <c:v>0.131782945736</c:v>
                </c:pt>
                <c:pt idx="672">
                  <c:v>0.182608695652</c:v>
                </c:pt>
                <c:pt idx="673">
                  <c:v>0.105431309904</c:v>
                </c:pt>
                <c:pt idx="674">
                  <c:v>0.15324519230700001</c:v>
                </c:pt>
                <c:pt idx="675">
                  <c:v>0.16094541361799999</c:v>
                </c:pt>
                <c:pt idx="676">
                  <c:v>0.127586206896</c:v>
                </c:pt>
                <c:pt idx="677">
                  <c:v>0.106628242074</c:v>
                </c:pt>
                <c:pt idx="678">
                  <c:v>0.176381909547</c:v>
                </c:pt>
                <c:pt idx="679">
                  <c:v>0.212790697674</c:v>
                </c:pt>
                <c:pt idx="680">
                  <c:v>0.189814814814</c:v>
                </c:pt>
                <c:pt idx="681">
                  <c:v>0.17396184062799999</c:v>
                </c:pt>
                <c:pt idx="682">
                  <c:v>0.17599999999999999</c:v>
                </c:pt>
                <c:pt idx="683">
                  <c:v>0.16129032258000001</c:v>
                </c:pt>
                <c:pt idx="684">
                  <c:v>9.3023255813E-2</c:v>
                </c:pt>
                <c:pt idx="685">
                  <c:v>0.20229175848299999</c:v>
                </c:pt>
                <c:pt idx="686">
                  <c:v>0.21793831168800001</c:v>
                </c:pt>
                <c:pt idx="687">
                  <c:v>0.21912887292300001</c:v>
                </c:pt>
                <c:pt idx="688">
                  <c:v>0.18410232982999999</c:v>
                </c:pt>
                <c:pt idx="689">
                  <c:v>0.19420289855</c:v>
                </c:pt>
                <c:pt idx="690">
                  <c:v>0.175895765472</c:v>
                </c:pt>
                <c:pt idx="691">
                  <c:v>0.11294117647</c:v>
                </c:pt>
                <c:pt idx="692">
                  <c:v>0.222498225691</c:v>
                </c:pt>
                <c:pt idx="693">
                  <c:v>0.21718565234500001</c:v>
                </c:pt>
                <c:pt idx="694">
                  <c:v>0.20188756667999999</c:v>
                </c:pt>
                <c:pt idx="695">
                  <c:v>0.20463489287200001</c:v>
                </c:pt>
                <c:pt idx="696">
                  <c:v>0.18484500574000001</c:v>
                </c:pt>
                <c:pt idx="697">
                  <c:v>0.14415584415499999</c:v>
                </c:pt>
                <c:pt idx="698">
                  <c:v>8.3499005964000006E-2</c:v>
                </c:pt>
                <c:pt idx="699">
                  <c:v>0.18854337152199999</c:v>
                </c:pt>
                <c:pt idx="700">
                  <c:v>0.23160535117</c:v>
                </c:pt>
                <c:pt idx="701">
                  <c:v>0.213333333333</c:v>
                </c:pt>
                <c:pt idx="702">
                  <c:v>0.198996655518</c:v>
                </c:pt>
                <c:pt idx="703">
                  <c:v>0.18448438978199999</c:v>
                </c:pt>
                <c:pt idx="704">
                  <c:v>0.15873015872999999</c:v>
                </c:pt>
                <c:pt idx="705">
                  <c:v>0.121387283236</c:v>
                </c:pt>
                <c:pt idx="706">
                  <c:v>0.21102819237100001</c:v>
                </c:pt>
                <c:pt idx="707">
                  <c:v>0.20487804877999999</c:v>
                </c:pt>
                <c:pt idx="708">
                  <c:v>0.19176654507499999</c:v>
                </c:pt>
                <c:pt idx="709">
                  <c:v>0.179441473559</c:v>
                </c:pt>
                <c:pt idx="710">
                  <c:v>0.188144329896</c:v>
                </c:pt>
                <c:pt idx="711">
                  <c:v>0.18705035971200001</c:v>
                </c:pt>
                <c:pt idx="712">
                  <c:v>0.123376623376</c:v>
                </c:pt>
                <c:pt idx="713">
                  <c:v>0.20826086956500001</c:v>
                </c:pt>
                <c:pt idx="714">
                  <c:v>0.24915336235999999</c:v>
                </c:pt>
                <c:pt idx="715">
                  <c:v>0.22314911366000001</c:v>
                </c:pt>
                <c:pt idx="716">
                  <c:v>0.18586227909799999</c:v>
                </c:pt>
                <c:pt idx="717">
                  <c:v>0.18911637931</c:v>
                </c:pt>
                <c:pt idx="718">
                  <c:v>0.168049792531</c:v>
                </c:pt>
                <c:pt idx="719">
                  <c:v>0.105095541401</c:v>
                </c:pt>
                <c:pt idx="720">
                  <c:v>0.188145487202</c:v>
                </c:pt>
                <c:pt idx="721">
                  <c:v>0.20888157894699999</c:v>
                </c:pt>
                <c:pt idx="722">
                  <c:v>0.205269607843</c:v>
                </c:pt>
                <c:pt idx="723">
                  <c:v>0.19005449591199999</c:v>
                </c:pt>
                <c:pt idx="724">
                  <c:v>0.211453744493</c:v>
                </c:pt>
                <c:pt idx="725">
                  <c:v>0.21654501216499999</c:v>
                </c:pt>
                <c:pt idx="726">
                  <c:v>0.105839416058</c:v>
                </c:pt>
                <c:pt idx="727">
                  <c:v>0.20829493087500001</c:v>
                </c:pt>
                <c:pt idx="728">
                  <c:v>0.212557900154</c:v>
                </c:pt>
                <c:pt idx="729">
                  <c:v>0.197368421052</c:v>
                </c:pt>
                <c:pt idx="730">
                  <c:v>0.182123655913</c:v>
                </c:pt>
                <c:pt idx="731">
                  <c:v>0.184401114206</c:v>
                </c:pt>
                <c:pt idx="732">
                  <c:v>0.176605504587</c:v>
                </c:pt>
                <c:pt idx="733">
                  <c:v>9.0128755364000002E-2</c:v>
                </c:pt>
                <c:pt idx="734">
                  <c:v>0.217574827321</c:v>
                </c:pt>
                <c:pt idx="735">
                  <c:v>0.22454196846999999</c:v>
                </c:pt>
                <c:pt idx="736">
                  <c:v>0.20794701986700001</c:v>
                </c:pt>
                <c:pt idx="737">
                  <c:v>0.188961646398</c:v>
                </c:pt>
                <c:pt idx="738">
                  <c:v>0.18704156479199999</c:v>
                </c:pt>
                <c:pt idx="739">
                  <c:v>0.180327868852</c:v>
                </c:pt>
                <c:pt idx="740">
                  <c:v>0.140625</c:v>
                </c:pt>
                <c:pt idx="741">
                  <c:v>0.18720990201099999</c:v>
                </c:pt>
                <c:pt idx="742">
                  <c:v>0.18517433343</c:v>
                </c:pt>
                <c:pt idx="743">
                  <c:v>0.16744330537400001</c:v>
                </c:pt>
                <c:pt idx="744">
                  <c:v>0.16189811584</c:v>
                </c:pt>
                <c:pt idx="745">
                  <c:v>0.17273606187500001</c:v>
                </c:pt>
                <c:pt idx="746">
                  <c:v>0.14414414414400001</c:v>
                </c:pt>
                <c:pt idx="747">
                  <c:v>0.166666666666</c:v>
                </c:pt>
                <c:pt idx="748">
                  <c:v>0.17653810835600001</c:v>
                </c:pt>
                <c:pt idx="749">
                  <c:v>0.15937417130699999</c:v>
                </c:pt>
                <c:pt idx="750">
                  <c:v>0.16700610997900001</c:v>
                </c:pt>
                <c:pt idx="751">
                  <c:v>0.13592852584500001</c:v>
                </c:pt>
                <c:pt idx="752">
                  <c:v>0.155370843989</c:v>
                </c:pt>
                <c:pt idx="753">
                  <c:v>0.144404332129</c:v>
                </c:pt>
                <c:pt idx="754">
                  <c:v>0.102719033232</c:v>
                </c:pt>
                <c:pt idx="755">
                  <c:v>0.192542213883</c:v>
                </c:pt>
                <c:pt idx="756">
                  <c:v>0.19446820644400001</c:v>
                </c:pt>
                <c:pt idx="757">
                  <c:v>0.20128824476599999</c:v>
                </c:pt>
                <c:pt idx="758">
                  <c:v>0.18175853018300001</c:v>
                </c:pt>
                <c:pt idx="759">
                  <c:v>0.1852913085</c:v>
                </c:pt>
                <c:pt idx="760">
                  <c:v>0.169366715758</c:v>
                </c:pt>
                <c:pt idx="761">
                  <c:v>0.148387096774</c:v>
                </c:pt>
                <c:pt idx="762">
                  <c:v>0.178571428571</c:v>
                </c:pt>
                <c:pt idx="763">
                  <c:v>0.17994100294900001</c:v>
                </c:pt>
                <c:pt idx="764">
                  <c:v>0.17019064124700001</c:v>
                </c:pt>
                <c:pt idx="765">
                  <c:v>0.164960629921</c:v>
                </c:pt>
                <c:pt idx="766">
                  <c:v>0.166666666666</c:v>
                </c:pt>
                <c:pt idx="767">
                  <c:v>0.150495049504</c:v>
                </c:pt>
                <c:pt idx="768">
                  <c:v>0.11963190184</c:v>
                </c:pt>
                <c:pt idx="769">
                  <c:v>0.16466982446299999</c:v>
                </c:pt>
                <c:pt idx="770">
                  <c:v>0.16070124178199999</c:v>
                </c:pt>
                <c:pt idx="771">
                  <c:v>0.148164146868</c:v>
                </c:pt>
                <c:pt idx="772">
                  <c:v>0.17554240631099999</c:v>
                </c:pt>
                <c:pt idx="773">
                  <c:v>0.12810521188499999</c:v>
                </c:pt>
                <c:pt idx="774">
                  <c:v>0.13902439024300001</c:v>
                </c:pt>
                <c:pt idx="775">
                  <c:v>9.2198581560000006E-2</c:v>
                </c:pt>
                <c:pt idx="776">
                  <c:v>0.12150888646999999</c:v>
                </c:pt>
                <c:pt idx="777">
                  <c:v>0.13670473083099999</c:v>
                </c:pt>
                <c:pt idx="778">
                  <c:v>0.10200927357</c:v>
                </c:pt>
                <c:pt idx="779">
                  <c:v>0.143346659051</c:v>
                </c:pt>
                <c:pt idx="780">
                  <c:v>0.117682198327</c:v>
                </c:pt>
                <c:pt idx="781">
                  <c:v>7.7294685990000001E-2</c:v>
                </c:pt>
                <c:pt idx="782">
                  <c:v>4.6822742474E-2</c:v>
                </c:pt>
                <c:pt idx="783">
                  <c:v>0.117085862966</c:v>
                </c:pt>
                <c:pt idx="784">
                  <c:v>0.12667946257099999</c:v>
                </c:pt>
                <c:pt idx="785">
                  <c:v>0.12429378531</c:v>
                </c:pt>
                <c:pt idx="786">
                  <c:v>0.107266435986</c:v>
                </c:pt>
                <c:pt idx="787">
                  <c:v>6.6666666666000005E-2</c:v>
                </c:pt>
                <c:pt idx="788">
                  <c:v>8.8541666665999996E-2</c:v>
                </c:pt>
                <c:pt idx="789">
                  <c:v>2.5510204081E-2</c:v>
                </c:pt>
                <c:pt idx="790">
                  <c:v>0.105782792665</c:v>
                </c:pt>
                <c:pt idx="791">
                  <c:v>0.103863204559</c:v>
                </c:pt>
                <c:pt idx="792">
                  <c:v>9.0909090908999998E-2</c:v>
                </c:pt>
                <c:pt idx="793">
                  <c:v>8.1755593803000001E-2</c:v>
                </c:pt>
                <c:pt idx="794">
                  <c:v>7.5607560756000003E-2</c:v>
                </c:pt>
                <c:pt idx="795">
                  <c:v>9.4420600857999998E-2</c:v>
                </c:pt>
                <c:pt idx="796">
                  <c:v>8.8541666665999996E-2</c:v>
                </c:pt>
                <c:pt idx="797">
                  <c:v>7.4595722483000004E-2</c:v>
                </c:pt>
                <c:pt idx="798">
                  <c:v>8.5260115605999998E-2</c:v>
                </c:pt>
                <c:pt idx="799">
                  <c:v>7.8772802653000004E-2</c:v>
                </c:pt>
                <c:pt idx="800">
                  <c:v>7.3762838467999997E-2</c:v>
                </c:pt>
                <c:pt idx="801">
                  <c:v>7.7767612075999998E-2</c:v>
                </c:pt>
                <c:pt idx="802">
                  <c:v>4.5248868778000002E-2</c:v>
                </c:pt>
                <c:pt idx="803">
                  <c:v>6.2111801241999998E-2</c:v>
                </c:pt>
                <c:pt idx="804">
                  <c:v>7.3361395068999996E-2</c:v>
                </c:pt>
                <c:pt idx="805">
                  <c:v>7.3506891271000005E-2</c:v>
                </c:pt>
                <c:pt idx="806">
                  <c:v>5.7613168723999998E-2</c:v>
                </c:pt>
                <c:pt idx="807">
                  <c:v>4.5977011493999999E-2</c:v>
                </c:pt>
                <c:pt idx="808">
                  <c:v>7.8685258963999999E-2</c:v>
                </c:pt>
                <c:pt idx="809">
                  <c:v>9.7560975608999997E-2</c:v>
                </c:pt>
                <c:pt idx="810">
                  <c:v>8.2191780820999996E-2</c:v>
                </c:pt>
                <c:pt idx="811">
                  <c:v>7.0338058886999996E-2</c:v>
                </c:pt>
                <c:pt idx="812">
                  <c:v>7.0432357042999993E-2</c:v>
                </c:pt>
                <c:pt idx="813">
                  <c:v>6.3041765168999994E-2</c:v>
                </c:pt>
                <c:pt idx="814">
                  <c:v>5.7829181494000001E-2</c:v>
                </c:pt>
                <c:pt idx="815">
                  <c:v>7.7343039126000004E-2</c:v>
                </c:pt>
                <c:pt idx="816">
                  <c:v>9.7435897435000002E-2</c:v>
                </c:pt>
                <c:pt idx="817">
                  <c:v>2.7173913043E-2</c:v>
                </c:pt>
                <c:pt idx="818">
                  <c:v>6.9306930692999993E-2</c:v>
                </c:pt>
                <c:pt idx="819">
                  <c:v>8.0955540808999998E-2</c:v>
                </c:pt>
                <c:pt idx="820">
                  <c:v>7.2808320950000005E-2</c:v>
                </c:pt>
                <c:pt idx="821">
                  <c:v>5.7119871278999999E-2</c:v>
                </c:pt>
                <c:pt idx="822">
                  <c:v>6.554756195E-2</c:v>
                </c:pt>
                <c:pt idx="823">
                  <c:v>7.9166666666000002E-2</c:v>
                </c:pt>
                <c:pt idx="824">
                  <c:v>3.125E-2</c:v>
                </c:pt>
                <c:pt idx="825">
                  <c:v>6.4716312055999994E-2</c:v>
                </c:pt>
                <c:pt idx="826">
                  <c:v>7.7784325279000005E-2</c:v>
                </c:pt>
                <c:pt idx="827">
                  <c:v>5.5764411026999999E-2</c:v>
                </c:pt>
                <c:pt idx="828">
                  <c:v>6.1019382626999998E-2</c:v>
                </c:pt>
                <c:pt idx="829">
                  <c:v>5.5934515688000001E-2</c:v>
                </c:pt>
                <c:pt idx="830">
                  <c:v>8.6538461538000003E-2</c:v>
                </c:pt>
                <c:pt idx="831">
                  <c:v>6.5476190476000007E-2</c:v>
                </c:pt>
                <c:pt idx="832">
                  <c:v>6.6057332779E-2</c:v>
                </c:pt>
                <c:pt idx="833">
                  <c:v>5.5002619172E-2</c:v>
                </c:pt>
                <c:pt idx="834">
                  <c:v>5.0608584239999997E-2</c:v>
                </c:pt>
                <c:pt idx="835">
                  <c:v>3.6465638148000003E-2</c:v>
                </c:pt>
                <c:pt idx="836">
                  <c:v>4.8797736915999999E-2</c:v>
                </c:pt>
                <c:pt idx="837">
                  <c:v>5.2132701421000002E-2</c:v>
                </c:pt>
                <c:pt idx="838">
                  <c:v>2.3255813952999999E-2</c:v>
                </c:pt>
                <c:pt idx="839">
                  <c:v>5.5792163542999998E-2</c:v>
                </c:pt>
                <c:pt idx="840">
                  <c:v>4.6728971962000002E-2</c:v>
                </c:pt>
                <c:pt idx="841">
                  <c:v>3.8650737876999998E-2</c:v>
                </c:pt>
                <c:pt idx="842">
                  <c:v>4.8031496062000002E-2</c:v>
                </c:pt>
                <c:pt idx="843">
                  <c:v>3.5860655737000001E-2</c:v>
                </c:pt>
                <c:pt idx="844">
                  <c:v>3.90625E-2</c:v>
                </c:pt>
                <c:pt idx="845">
                  <c:v>3.5502958579000002E-2</c:v>
                </c:pt>
                <c:pt idx="846">
                  <c:v>1.8518518518000002E-2</c:v>
                </c:pt>
                <c:pt idx="847">
                  <c:v>4.5182724251999998E-2</c:v>
                </c:pt>
                <c:pt idx="848">
                  <c:v>4.0983606557E-2</c:v>
                </c:pt>
                <c:pt idx="849">
                  <c:v>3.8922155687999997E-2</c:v>
                </c:pt>
                <c:pt idx="850">
                  <c:v>4.5848822800000001E-2</c:v>
                </c:pt>
                <c:pt idx="851">
                  <c:v>5.4054054054000003E-2</c:v>
                </c:pt>
                <c:pt idx="852">
                  <c:v>3.8834951456000001E-2</c:v>
                </c:pt>
                <c:pt idx="853">
                  <c:v>3.8935436174999997E-2</c:v>
                </c:pt>
                <c:pt idx="854">
                  <c:v>4.0884718498000003E-2</c:v>
                </c:pt>
                <c:pt idx="855">
                  <c:v>2.2317596565999999E-2</c:v>
                </c:pt>
                <c:pt idx="856">
                  <c:v>2.5233644858999999E-2</c:v>
                </c:pt>
                <c:pt idx="857">
                  <c:v>2.2292993630000001E-2</c:v>
                </c:pt>
                <c:pt idx="858">
                  <c:v>4.9180327868000001E-2</c:v>
                </c:pt>
                <c:pt idx="859">
                  <c:v>2.9126213591999999E-2</c:v>
                </c:pt>
                <c:pt idx="860">
                  <c:v>3.4507548526E-2</c:v>
                </c:pt>
                <c:pt idx="861">
                  <c:v>2.5773195876E-2</c:v>
                </c:pt>
                <c:pt idx="862">
                  <c:v>4.1871921181999998E-2</c:v>
                </c:pt>
                <c:pt idx="863">
                  <c:v>2.8189910979000001E-2</c:v>
                </c:pt>
                <c:pt idx="864">
                  <c:v>2.1546261088999999E-2</c:v>
                </c:pt>
                <c:pt idx="865">
                  <c:v>0</c:v>
                </c:pt>
                <c:pt idx="866">
                  <c:v>2.7777777776999999E-2</c:v>
                </c:pt>
                <c:pt idx="867">
                  <c:v>3.0330062444000001E-2</c:v>
                </c:pt>
                <c:pt idx="868">
                  <c:v>3.6948748509999997E-2</c:v>
                </c:pt>
                <c:pt idx="869">
                  <c:v>1.6766467064999999E-2</c:v>
                </c:pt>
                <c:pt idx="870">
                  <c:v>3.1662269128999998E-2</c:v>
                </c:pt>
                <c:pt idx="871">
                  <c:v>3.5656401944E-2</c:v>
                </c:pt>
                <c:pt idx="872">
                  <c:v>8.6206896549999995E-3</c:v>
                </c:pt>
                <c:pt idx="873">
                  <c:v>4.3956043956000002E-2</c:v>
                </c:pt>
                <c:pt idx="874">
                  <c:v>3.7306642401999997E-2</c:v>
                </c:pt>
                <c:pt idx="875">
                  <c:v>3.1925849638999998E-2</c:v>
                </c:pt>
                <c:pt idx="876">
                  <c:v>3.1957390145999999E-2</c:v>
                </c:pt>
                <c:pt idx="877">
                  <c:v>3.6784741144000002E-2</c:v>
                </c:pt>
                <c:pt idx="878">
                  <c:v>4.2407660738000001E-2</c:v>
                </c:pt>
                <c:pt idx="879">
                  <c:v>1.0309278349999999E-2</c:v>
                </c:pt>
                <c:pt idx="880">
                  <c:v>0.05</c:v>
                </c:pt>
                <c:pt idx="881">
                  <c:v>4.1075429423999998E-2</c:v>
                </c:pt>
                <c:pt idx="882">
                  <c:v>5.4082714740000003E-2</c:v>
                </c:pt>
                <c:pt idx="883">
                  <c:v>5.3677932405000003E-2</c:v>
                </c:pt>
                <c:pt idx="884">
                  <c:v>4.9751243781000001E-2</c:v>
                </c:pt>
                <c:pt idx="885">
                  <c:v>6.1728395061000002E-2</c:v>
                </c:pt>
                <c:pt idx="886">
                  <c:v>8.2568807339000003E-2</c:v>
                </c:pt>
                <c:pt idx="887">
                  <c:v>8.6206896549999995E-3</c:v>
                </c:pt>
                <c:pt idx="888">
                  <c:v>6.005788712E-2</c:v>
                </c:pt>
                <c:pt idx="889">
                  <c:v>5.7826520437999997E-2</c:v>
                </c:pt>
                <c:pt idx="890">
                  <c:v>4.2267050911999997E-2</c:v>
                </c:pt>
                <c:pt idx="891">
                  <c:v>5.7213930348E-2</c:v>
                </c:pt>
                <c:pt idx="892">
                  <c:v>6.8445475638000006E-2</c:v>
                </c:pt>
                <c:pt idx="893">
                  <c:v>0.103703703703</c:v>
                </c:pt>
                <c:pt idx="894">
                  <c:v>0.111111111111</c:v>
                </c:pt>
                <c:pt idx="895">
                  <c:v>8.0801944106000001E-2</c:v>
                </c:pt>
                <c:pt idx="896">
                  <c:v>8.9834515365999998E-2</c:v>
                </c:pt>
                <c:pt idx="897">
                  <c:v>7.5224856909000007E-2</c:v>
                </c:pt>
                <c:pt idx="898">
                  <c:v>6.5476190476000007E-2</c:v>
                </c:pt>
                <c:pt idx="899">
                  <c:v>8.7003222340999997E-2</c:v>
                </c:pt>
                <c:pt idx="900">
                  <c:v>6.3636363636000004E-2</c:v>
                </c:pt>
                <c:pt idx="901">
                  <c:v>8.4905660376999995E-2</c:v>
                </c:pt>
                <c:pt idx="902">
                  <c:v>7.8326180257E-2</c:v>
                </c:pt>
                <c:pt idx="903">
                  <c:v>9.7684515195000002E-2</c:v>
                </c:pt>
                <c:pt idx="904">
                  <c:v>7.8758949879999998E-2</c:v>
                </c:pt>
                <c:pt idx="905">
                  <c:v>7.8538812784999995E-2</c:v>
                </c:pt>
                <c:pt idx="906">
                  <c:v>8.0392156862000005E-2</c:v>
                </c:pt>
                <c:pt idx="907">
                  <c:v>5.2083333332999998E-2</c:v>
                </c:pt>
                <c:pt idx="908">
                  <c:v>8.3333333332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6CF-4113-9F3D-1DA3F78F4D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4862472"/>
        <c:axId val="414859336"/>
      </c:lineChart>
      <c:dateAx>
        <c:axId val="41486247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0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4859336"/>
        <c:crosses val="autoZero"/>
        <c:auto val="1"/>
        <c:lblOffset val="100"/>
        <c:baseTimeUnit val="days"/>
      </c:dateAx>
      <c:valAx>
        <c:axId val="414859336"/>
        <c:scaling>
          <c:orientation val="minMax"/>
          <c:max val="0.70000000000000007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4862472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018986578593"/>
          <c:y val="2.578124841404722E-2"/>
          <c:w val="0.80305370889687089"/>
          <c:h val="0.817929575668702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00CD6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3.2545816780395309E-7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F6-4598-941B-E0A7D85120DC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-71.282823500000006</c:v>
                </c:pt>
                <c:pt idx="1">
                  <c:v>-51.8198334</c:v>
                </c:pt>
                <c:pt idx="2">
                  <c:v>-19.124438900000001</c:v>
                </c:pt>
                <c:pt idx="3">
                  <c:v>-6.9722885000000003</c:v>
                </c:pt>
                <c:pt idx="4">
                  <c:v>-1.9625489</c:v>
                </c:pt>
                <c:pt idx="5">
                  <c:v>-1.02274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F6-4598-941B-E0A7D85120D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D31145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4.133318731110128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BF6-4598-941B-E0A7D85120DC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362.92151819999998</c:v>
                </c:pt>
                <c:pt idx="1">
                  <c:v>605.64949850000005</c:v>
                </c:pt>
                <c:pt idx="2">
                  <c:v>58.254689499999998</c:v>
                </c:pt>
                <c:pt idx="3">
                  <c:v>13.8030527</c:v>
                </c:pt>
                <c:pt idx="4">
                  <c:v>4.1157178999999999</c:v>
                </c:pt>
                <c:pt idx="5">
                  <c:v>3.2329517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F6-4598-941B-E0A7D8512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1018031199"/>
        <c:axId val="1902143087"/>
      </c:barChart>
      <c:catAx>
        <c:axId val="101803119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2143087"/>
        <c:crosses val="autoZero"/>
        <c:auto val="1"/>
        <c:lblAlgn val="ctr"/>
        <c:lblOffset val="100"/>
        <c:noMultiLvlLbl val="0"/>
      </c:catAx>
      <c:valAx>
        <c:axId val="1902143087"/>
        <c:scaling>
          <c:orientation val="minMax"/>
          <c:max val="680"/>
          <c:min val="-680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400" b="0" i="0" baseline="0" dirty="0">
                    <a:effectLst/>
                  </a:rPr>
                  <a:t>Osoby hospitalizované na JIP </a:t>
                </a:r>
                <a:br>
                  <a:rPr lang="cs-CZ" sz="1400" b="0" i="0" baseline="0" dirty="0">
                    <a:effectLst/>
                  </a:rPr>
                </a:br>
                <a:r>
                  <a:rPr lang="cs-CZ" sz="1400" b="0" i="0" baseline="0" dirty="0">
                    <a:effectLst/>
                  </a:rPr>
                  <a:t>na 100 tis. v dané kategorii</a:t>
                </a:r>
                <a:endParaRPr lang="cs-CZ" sz="1100" b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#,##0" sourceLinked="0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031199"/>
        <c:crosses val="autoZero"/>
        <c:crossBetween val="between"/>
        <c:majorUnit val="17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018986578593"/>
          <c:y val="2.578124841404722E-2"/>
          <c:w val="0.80305370889687089"/>
          <c:h val="0.801521225544481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00CD6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2.594566993464052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D7-4B42-BB16-40B73AC96D9B}"/>
                </c:ext>
              </c:extLst>
            </c:dLbl>
            <c:dLbl>
              <c:idx val="5"/>
              <c:layout>
                <c:manualLayout>
                  <c:x val="-6.744281045751633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3A-44FC-B01A-F932361D4DBF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-8.0193176000000008</c:v>
                </c:pt>
                <c:pt idx="1">
                  <c:v>-10.821812599999999</c:v>
                </c:pt>
                <c:pt idx="2">
                  <c:v>-4.5534378000000002</c:v>
                </c:pt>
                <c:pt idx="3">
                  <c:v>-2.1604274000000001</c:v>
                </c:pt>
                <c:pt idx="4">
                  <c:v>-9.3454700000000002E-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D7-4B42-BB16-40B73AC96D9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D31145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6.727328431372453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D7-4B42-BB16-40B73AC96D9B}"/>
                </c:ext>
              </c:extLst>
            </c:dLbl>
            <c:dLbl>
              <c:idx val="5"/>
              <c:layout>
                <c:manualLayout>
                  <c:x val="2.85334967320261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3A-44FC-B01A-F932361D4DBF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30.2434598</c:v>
                </c:pt>
                <c:pt idx="1">
                  <c:v>145.35587960000001</c:v>
                </c:pt>
                <c:pt idx="2">
                  <c:v>13.1073051</c:v>
                </c:pt>
                <c:pt idx="3">
                  <c:v>5.565747</c:v>
                </c:pt>
                <c:pt idx="4">
                  <c:v>1.104217</c:v>
                </c:pt>
                <c:pt idx="5">
                  <c:v>0.146952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D7-4B42-BB16-40B73AC96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1018031199"/>
        <c:axId val="1902143087"/>
      </c:barChart>
      <c:catAx>
        <c:axId val="101803119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high"/>
        <c:crossAx val="1902143087"/>
        <c:crosses val="autoZero"/>
        <c:auto val="1"/>
        <c:lblAlgn val="ctr"/>
        <c:lblOffset val="100"/>
        <c:noMultiLvlLbl val="0"/>
      </c:catAx>
      <c:valAx>
        <c:axId val="1902143087"/>
        <c:scaling>
          <c:orientation val="minMax"/>
          <c:max val="180"/>
          <c:min val="-180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400" b="0" i="0" baseline="0" dirty="0">
                    <a:effectLst/>
                  </a:rPr>
                  <a:t>Osoby hospitalizované na UPV/ECMO </a:t>
                </a:r>
                <a:br>
                  <a:rPr lang="cs-CZ" sz="1400" b="0" i="0" baseline="0" dirty="0">
                    <a:effectLst/>
                  </a:rPr>
                </a:br>
                <a:r>
                  <a:rPr lang="cs-CZ" sz="1400" b="0" i="0" baseline="0" dirty="0">
                    <a:effectLst/>
                  </a:rPr>
                  <a:t>na 100 tis. v dané kategorii</a:t>
                </a:r>
                <a:endParaRPr lang="cs-CZ" sz="1100" b="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20390747549019608"/>
              <c:y val="0.8794632034632032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#,##0" sourceLinked="0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031199"/>
        <c:crosses val="autoZero"/>
        <c:crossBetween val="between"/>
        <c:majorUnit val="45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018986578593"/>
          <c:y val="2.578124841404722E-2"/>
          <c:w val="0.80305370889687089"/>
          <c:h val="0.8179295756687022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7.600290448319747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F6-4598-941B-E0A7D85120DC}"/>
                </c:ext>
              </c:extLst>
            </c:dLbl>
            <c:dLbl>
              <c:idx val="5"/>
              <c:layout>
                <c:manualLayout>
                  <c:x val="-7.8536746899025414E-2"/>
                  <c:y val="-1.0742062745960844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D67-4666-B690-6915D3B86E44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-25.839793199999999</c:v>
                </c:pt>
                <c:pt idx="1">
                  <c:v>-21.610718899999998</c:v>
                </c:pt>
                <c:pt idx="2">
                  <c:v>-5.6844738000000001</c:v>
                </c:pt>
                <c:pt idx="3">
                  <c:v>-2.5739363000000002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F6-4598-941B-E0A7D85120DC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D31145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9.200189908516665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BF6-4598-941B-E0A7D85120DC}"/>
                </c:ext>
              </c:extLst>
            </c:dLbl>
            <c:dLbl>
              <c:idx val="5"/>
              <c:layout>
                <c:manualLayout>
                  <c:x val="1.0133773793422621E-2"/>
                  <c:y val="-1.0742062745960844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D67-4666-B690-6915D3B86E44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362.92151819999998</c:v>
                </c:pt>
                <c:pt idx="1">
                  <c:v>605.64949850000005</c:v>
                </c:pt>
                <c:pt idx="2">
                  <c:v>58.254689499999998</c:v>
                </c:pt>
                <c:pt idx="3">
                  <c:v>13.8030527</c:v>
                </c:pt>
                <c:pt idx="4">
                  <c:v>4.1157178999999999</c:v>
                </c:pt>
                <c:pt idx="5">
                  <c:v>3.2329517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F6-4598-941B-E0A7D85120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1018031199"/>
        <c:axId val="1902143087"/>
      </c:barChart>
      <c:catAx>
        <c:axId val="101803119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2143087"/>
        <c:crosses val="autoZero"/>
        <c:auto val="1"/>
        <c:lblAlgn val="ctr"/>
        <c:lblOffset val="100"/>
        <c:noMultiLvlLbl val="0"/>
      </c:catAx>
      <c:valAx>
        <c:axId val="1902143087"/>
        <c:scaling>
          <c:orientation val="minMax"/>
          <c:max val="680"/>
          <c:min val="-680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400" b="0" i="0" baseline="0" dirty="0">
                    <a:effectLst/>
                  </a:rPr>
                  <a:t>Osoby hospitalizované na JIP </a:t>
                </a:r>
                <a:br>
                  <a:rPr lang="cs-CZ" sz="1400" b="0" i="0" baseline="0" dirty="0">
                    <a:effectLst/>
                  </a:rPr>
                </a:br>
                <a:r>
                  <a:rPr lang="cs-CZ" sz="1400" b="0" i="0" baseline="0" dirty="0">
                    <a:effectLst/>
                  </a:rPr>
                  <a:t>na 100 tis. v dané kategorii</a:t>
                </a:r>
                <a:endParaRPr lang="cs-CZ" sz="1100" b="0" dirty="0">
                  <a:effectLst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#,##0" sourceLinked="0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031199"/>
        <c:crosses val="autoZero"/>
        <c:crossBetween val="between"/>
        <c:majorUnit val="17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428018986578593"/>
          <c:y val="2.578124841404722E-2"/>
          <c:w val="0.80305370889687089"/>
          <c:h val="0.8015212255444813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7.5224673202614376E-2"/>
                  <c:y val="-2.290764790764832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63-43F0-93A4-1CEE698D2479}"/>
                </c:ext>
              </c:extLst>
            </c:dLbl>
            <c:dLbl>
              <c:idx val="4"/>
              <c:layout>
                <c:manualLayout>
                  <c:x val="-7.781821895424846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D7-4B42-BB16-40B73AC96D9B}"/>
                </c:ext>
              </c:extLst>
            </c:dLbl>
            <c:dLbl>
              <c:idx val="5"/>
              <c:layout>
                <c:manualLayout>
                  <c:x val="-6.7442810457516336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C3A-44FC-B01A-F932361D4DBF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B$2:$B$7</c:f>
              <c:numCache>
                <c:formatCode>General</c:formatCode>
                <c:ptCount val="6"/>
                <c:pt idx="0">
                  <c:v>-5.1679586000000004</c:v>
                </c:pt>
                <c:pt idx="1">
                  <c:v>-7.2035729000000002</c:v>
                </c:pt>
                <c:pt idx="2">
                  <c:v>-1.263216399999999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D7-4B42-BB16-40B73AC96D9B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D31145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9.5110557048149353E-17"/>
                  <c:y val="-2.290764790764832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63-43F0-93A4-1CEE698D2479}"/>
                </c:ext>
              </c:extLst>
            </c:dLbl>
            <c:dLbl>
              <c:idx val="4"/>
              <c:layout>
                <c:manualLayout>
                  <c:x val="1.5394199346404278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D7-4B42-BB16-40B73AC96D9B}"/>
                </c:ext>
              </c:extLst>
            </c:dLbl>
            <c:dLbl>
              <c:idx val="5"/>
              <c:layout>
                <c:manualLayout>
                  <c:x val="2.853349673202614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3A-44FC-B01A-F932361D4DBF}"/>
                </c:ext>
              </c:extLst>
            </c:dLbl>
            <c:numFmt formatCode="#,##0.0_ ;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7</c:f>
              <c:strCache>
                <c:ptCount val="6"/>
                <c:pt idx="0">
                  <c:v>85+ let</c:v>
                </c:pt>
                <c:pt idx="1">
                  <c:v>75 - 84 let</c:v>
                </c:pt>
                <c:pt idx="2">
                  <c:v>65 - 74 let</c:v>
                </c:pt>
                <c:pt idx="3">
                  <c:v>50 - 64 let</c:v>
                </c:pt>
                <c:pt idx="4">
                  <c:v>30 - 49 let</c:v>
                </c:pt>
                <c:pt idx="5">
                  <c:v>pod 30 let</c:v>
                </c:pt>
              </c:strCache>
            </c:strRef>
          </c:cat>
          <c:val>
            <c:numRef>
              <c:f>List1!$C$2:$C$7</c:f>
              <c:numCache>
                <c:formatCode>General</c:formatCode>
                <c:ptCount val="6"/>
                <c:pt idx="0">
                  <c:v>30.2434598</c:v>
                </c:pt>
                <c:pt idx="1">
                  <c:v>145.35587960000001</c:v>
                </c:pt>
                <c:pt idx="2">
                  <c:v>13.1073051</c:v>
                </c:pt>
                <c:pt idx="3">
                  <c:v>5.565747</c:v>
                </c:pt>
                <c:pt idx="4">
                  <c:v>1.104217</c:v>
                </c:pt>
                <c:pt idx="5">
                  <c:v>0.1469523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9D7-4B42-BB16-40B73AC96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"/>
        <c:overlap val="100"/>
        <c:axId val="1018031199"/>
        <c:axId val="1902143087"/>
      </c:barChart>
      <c:catAx>
        <c:axId val="101803119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high"/>
        <c:crossAx val="1902143087"/>
        <c:crosses val="autoZero"/>
        <c:auto val="1"/>
        <c:lblAlgn val="ctr"/>
        <c:lblOffset val="100"/>
        <c:noMultiLvlLbl val="0"/>
      </c:catAx>
      <c:valAx>
        <c:axId val="1902143087"/>
        <c:scaling>
          <c:orientation val="minMax"/>
          <c:max val="160"/>
          <c:min val="-160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b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400" b="0" i="0" baseline="0" dirty="0">
                    <a:effectLst/>
                  </a:rPr>
                  <a:t>Osoby hospitalizované na UPV/ECMO </a:t>
                </a:r>
                <a:br>
                  <a:rPr lang="cs-CZ" sz="1400" b="0" i="0" baseline="0" dirty="0">
                    <a:effectLst/>
                  </a:rPr>
                </a:br>
                <a:r>
                  <a:rPr lang="cs-CZ" sz="1400" b="0" i="0" baseline="0" dirty="0">
                    <a:effectLst/>
                  </a:rPr>
                  <a:t>na 100 tis. v dané kategorii</a:t>
                </a:r>
                <a:endParaRPr lang="cs-CZ" sz="1100" b="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0.20390747549019608"/>
              <c:y val="0.8794632034632032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b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#,##0" sourceLinked="0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031199"/>
        <c:crosses val="autoZero"/>
        <c:crossBetween val="between"/>
        <c:majorUnit val="40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27928087982371"/>
          <c:y val="2.4852292975710399E-2"/>
          <c:w val="0.85679636904293355"/>
          <c:h val="0.8148662719487748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Bez očkování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C00000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794</c:f>
              <c:numCache>
                <c:formatCode>m/d/yyyy</c:formatCode>
                <c:ptCount val="793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  <c:pt idx="468">
                  <c:v>44659</c:v>
                </c:pt>
                <c:pt idx="469">
                  <c:v>44660</c:v>
                </c:pt>
                <c:pt idx="470">
                  <c:v>44661</c:v>
                </c:pt>
                <c:pt idx="471">
                  <c:v>44662</c:v>
                </c:pt>
                <c:pt idx="472">
                  <c:v>44663</c:v>
                </c:pt>
                <c:pt idx="473">
                  <c:v>44664</c:v>
                </c:pt>
                <c:pt idx="474">
                  <c:v>44665</c:v>
                </c:pt>
                <c:pt idx="475">
                  <c:v>44666</c:v>
                </c:pt>
                <c:pt idx="476">
                  <c:v>44667</c:v>
                </c:pt>
                <c:pt idx="477">
                  <c:v>44668</c:v>
                </c:pt>
                <c:pt idx="478">
                  <c:v>44669</c:v>
                </c:pt>
                <c:pt idx="479">
                  <c:v>44670</c:v>
                </c:pt>
                <c:pt idx="480">
                  <c:v>44671</c:v>
                </c:pt>
                <c:pt idx="481">
                  <c:v>44672</c:v>
                </c:pt>
                <c:pt idx="482">
                  <c:v>44673</c:v>
                </c:pt>
                <c:pt idx="483">
                  <c:v>44674</c:v>
                </c:pt>
                <c:pt idx="484">
                  <c:v>44675</c:v>
                </c:pt>
                <c:pt idx="485">
                  <c:v>44676</c:v>
                </c:pt>
                <c:pt idx="486">
                  <c:v>44677</c:v>
                </c:pt>
                <c:pt idx="487">
                  <c:v>44678</c:v>
                </c:pt>
                <c:pt idx="488">
                  <c:v>44679</c:v>
                </c:pt>
                <c:pt idx="489">
                  <c:v>44680</c:v>
                </c:pt>
                <c:pt idx="490">
                  <c:v>44681</c:v>
                </c:pt>
                <c:pt idx="491">
                  <c:v>44682</c:v>
                </c:pt>
                <c:pt idx="492">
                  <c:v>44683</c:v>
                </c:pt>
                <c:pt idx="493">
                  <c:v>44684</c:v>
                </c:pt>
                <c:pt idx="494">
                  <c:v>44685</c:v>
                </c:pt>
                <c:pt idx="495">
                  <c:v>44686</c:v>
                </c:pt>
                <c:pt idx="496">
                  <c:v>44687</c:v>
                </c:pt>
                <c:pt idx="497">
                  <c:v>44688</c:v>
                </c:pt>
                <c:pt idx="498">
                  <c:v>44689</c:v>
                </c:pt>
                <c:pt idx="499">
                  <c:v>44690</c:v>
                </c:pt>
                <c:pt idx="500">
                  <c:v>44691</c:v>
                </c:pt>
                <c:pt idx="501">
                  <c:v>44692</c:v>
                </c:pt>
                <c:pt idx="502">
                  <c:v>44693</c:v>
                </c:pt>
                <c:pt idx="503">
                  <c:v>44694</c:v>
                </c:pt>
                <c:pt idx="504">
                  <c:v>44695</c:v>
                </c:pt>
                <c:pt idx="505">
                  <c:v>44696</c:v>
                </c:pt>
                <c:pt idx="506">
                  <c:v>44697</c:v>
                </c:pt>
                <c:pt idx="507">
                  <c:v>44698</c:v>
                </c:pt>
                <c:pt idx="508">
                  <c:v>44699</c:v>
                </c:pt>
                <c:pt idx="509">
                  <c:v>44700</c:v>
                </c:pt>
                <c:pt idx="510">
                  <c:v>44701</c:v>
                </c:pt>
                <c:pt idx="511">
                  <c:v>44702</c:v>
                </c:pt>
                <c:pt idx="512">
                  <c:v>44703</c:v>
                </c:pt>
                <c:pt idx="513">
                  <c:v>44704</c:v>
                </c:pt>
                <c:pt idx="514">
                  <c:v>44705</c:v>
                </c:pt>
                <c:pt idx="515">
                  <c:v>44706</c:v>
                </c:pt>
                <c:pt idx="516">
                  <c:v>44707</c:v>
                </c:pt>
                <c:pt idx="517">
                  <c:v>44708</c:v>
                </c:pt>
                <c:pt idx="518">
                  <c:v>44709</c:v>
                </c:pt>
                <c:pt idx="519">
                  <c:v>44710</c:v>
                </c:pt>
                <c:pt idx="520">
                  <c:v>44711</c:v>
                </c:pt>
                <c:pt idx="521">
                  <c:v>44712</c:v>
                </c:pt>
                <c:pt idx="522">
                  <c:v>44713</c:v>
                </c:pt>
                <c:pt idx="523">
                  <c:v>44714</c:v>
                </c:pt>
                <c:pt idx="524">
                  <c:v>44715</c:v>
                </c:pt>
                <c:pt idx="525">
                  <c:v>44716</c:v>
                </c:pt>
                <c:pt idx="526">
                  <c:v>44717</c:v>
                </c:pt>
                <c:pt idx="527">
                  <c:v>44718</c:v>
                </c:pt>
                <c:pt idx="528">
                  <c:v>44719</c:v>
                </c:pt>
                <c:pt idx="529">
                  <c:v>44720</c:v>
                </c:pt>
                <c:pt idx="530">
                  <c:v>44721</c:v>
                </c:pt>
                <c:pt idx="531">
                  <c:v>44722</c:v>
                </c:pt>
                <c:pt idx="532">
                  <c:v>44723</c:v>
                </c:pt>
                <c:pt idx="533">
                  <c:v>44724</c:v>
                </c:pt>
                <c:pt idx="534">
                  <c:v>44725</c:v>
                </c:pt>
                <c:pt idx="535">
                  <c:v>44726</c:v>
                </c:pt>
                <c:pt idx="536">
                  <c:v>44727</c:v>
                </c:pt>
                <c:pt idx="537">
                  <c:v>44728</c:v>
                </c:pt>
                <c:pt idx="538">
                  <c:v>44729</c:v>
                </c:pt>
                <c:pt idx="539">
                  <c:v>44730</c:v>
                </c:pt>
                <c:pt idx="540">
                  <c:v>44731</c:v>
                </c:pt>
                <c:pt idx="541">
                  <c:v>44732</c:v>
                </c:pt>
                <c:pt idx="542">
                  <c:v>44733</c:v>
                </c:pt>
                <c:pt idx="543">
                  <c:v>44734</c:v>
                </c:pt>
                <c:pt idx="544">
                  <c:v>44735</c:v>
                </c:pt>
                <c:pt idx="545">
                  <c:v>44736</c:v>
                </c:pt>
                <c:pt idx="546">
                  <c:v>44737</c:v>
                </c:pt>
                <c:pt idx="547">
                  <c:v>44738</c:v>
                </c:pt>
                <c:pt idx="548">
                  <c:v>44739</c:v>
                </c:pt>
                <c:pt idx="549">
                  <c:v>44740</c:v>
                </c:pt>
                <c:pt idx="550">
                  <c:v>44741</c:v>
                </c:pt>
                <c:pt idx="551">
                  <c:v>44742</c:v>
                </c:pt>
                <c:pt idx="552">
                  <c:v>44743</c:v>
                </c:pt>
                <c:pt idx="553">
                  <c:v>44744</c:v>
                </c:pt>
                <c:pt idx="554">
                  <c:v>44745</c:v>
                </c:pt>
                <c:pt idx="555">
                  <c:v>44746</c:v>
                </c:pt>
                <c:pt idx="556">
                  <c:v>44747</c:v>
                </c:pt>
                <c:pt idx="557">
                  <c:v>44748</c:v>
                </c:pt>
                <c:pt idx="558">
                  <c:v>44749</c:v>
                </c:pt>
                <c:pt idx="559">
                  <c:v>44750</c:v>
                </c:pt>
                <c:pt idx="560">
                  <c:v>44751</c:v>
                </c:pt>
                <c:pt idx="561">
                  <c:v>44752</c:v>
                </c:pt>
                <c:pt idx="562">
                  <c:v>44753</c:v>
                </c:pt>
                <c:pt idx="563">
                  <c:v>44754</c:v>
                </c:pt>
                <c:pt idx="564">
                  <c:v>44755</c:v>
                </c:pt>
                <c:pt idx="565">
                  <c:v>44756</c:v>
                </c:pt>
                <c:pt idx="566">
                  <c:v>44757</c:v>
                </c:pt>
                <c:pt idx="567">
                  <c:v>44758</c:v>
                </c:pt>
                <c:pt idx="568">
                  <c:v>44759</c:v>
                </c:pt>
                <c:pt idx="569">
                  <c:v>44760</c:v>
                </c:pt>
                <c:pt idx="570">
                  <c:v>44761</c:v>
                </c:pt>
                <c:pt idx="571">
                  <c:v>44762</c:v>
                </c:pt>
                <c:pt idx="572">
                  <c:v>44763</c:v>
                </c:pt>
                <c:pt idx="573">
                  <c:v>44764</c:v>
                </c:pt>
                <c:pt idx="574">
                  <c:v>44765</c:v>
                </c:pt>
                <c:pt idx="575">
                  <c:v>44766</c:v>
                </c:pt>
                <c:pt idx="576">
                  <c:v>44767</c:v>
                </c:pt>
                <c:pt idx="577">
                  <c:v>44768</c:v>
                </c:pt>
                <c:pt idx="578">
                  <c:v>44769</c:v>
                </c:pt>
                <c:pt idx="579">
                  <c:v>44770</c:v>
                </c:pt>
                <c:pt idx="580">
                  <c:v>44771</c:v>
                </c:pt>
                <c:pt idx="581">
                  <c:v>44772</c:v>
                </c:pt>
                <c:pt idx="582">
                  <c:v>44773</c:v>
                </c:pt>
                <c:pt idx="583">
                  <c:v>44774</c:v>
                </c:pt>
                <c:pt idx="584">
                  <c:v>44775</c:v>
                </c:pt>
                <c:pt idx="585">
                  <c:v>44776</c:v>
                </c:pt>
                <c:pt idx="586">
                  <c:v>44777</c:v>
                </c:pt>
                <c:pt idx="587">
                  <c:v>44778</c:v>
                </c:pt>
                <c:pt idx="588">
                  <c:v>44779</c:v>
                </c:pt>
                <c:pt idx="589">
                  <c:v>44780</c:v>
                </c:pt>
                <c:pt idx="590">
                  <c:v>44781</c:v>
                </c:pt>
                <c:pt idx="591">
                  <c:v>44782</c:v>
                </c:pt>
                <c:pt idx="592">
                  <c:v>44783</c:v>
                </c:pt>
                <c:pt idx="593">
                  <c:v>44784</c:v>
                </c:pt>
                <c:pt idx="594">
                  <c:v>44785</c:v>
                </c:pt>
                <c:pt idx="595">
                  <c:v>44786</c:v>
                </c:pt>
                <c:pt idx="596">
                  <c:v>44787</c:v>
                </c:pt>
                <c:pt idx="597">
                  <c:v>44788</c:v>
                </c:pt>
                <c:pt idx="598">
                  <c:v>44789</c:v>
                </c:pt>
                <c:pt idx="599">
                  <c:v>44790</c:v>
                </c:pt>
                <c:pt idx="600">
                  <c:v>44791</c:v>
                </c:pt>
                <c:pt idx="601">
                  <c:v>44792</c:v>
                </c:pt>
                <c:pt idx="602">
                  <c:v>44793</c:v>
                </c:pt>
                <c:pt idx="603">
                  <c:v>44794</c:v>
                </c:pt>
                <c:pt idx="604">
                  <c:v>44795</c:v>
                </c:pt>
                <c:pt idx="605">
                  <c:v>44796</c:v>
                </c:pt>
                <c:pt idx="606">
                  <c:v>44797</c:v>
                </c:pt>
                <c:pt idx="607">
                  <c:v>44798</c:v>
                </c:pt>
                <c:pt idx="608">
                  <c:v>44799</c:v>
                </c:pt>
                <c:pt idx="609">
                  <c:v>44800</c:v>
                </c:pt>
                <c:pt idx="610">
                  <c:v>44801</c:v>
                </c:pt>
                <c:pt idx="611">
                  <c:v>44802</c:v>
                </c:pt>
                <c:pt idx="612">
                  <c:v>44803</c:v>
                </c:pt>
                <c:pt idx="613">
                  <c:v>44804</c:v>
                </c:pt>
                <c:pt idx="614">
                  <c:v>44805</c:v>
                </c:pt>
                <c:pt idx="615">
                  <c:v>44806</c:v>
                </c:pt>
                <c:pt idx="616">
                  <c:v>44807</c:v>
                </c:pt>
                <c:pt idx="617">
                  <c:v>44808</c:v>
                </c:pt>
                <c:pt idx="618">
                  <c:v>44809</c:v>
                </c:pt>
                <c:pt idx="619">
                  <c:v>44810</c:v>
                </c:pt>
                <c:pt idx="620">
                  <c:v>44811</c:v>
                </c:pt>
                <c:pt idx="621">
                  <c:v>44812</c:v>
                </c:pt>
                <c:pt idx="622">
                  <c:v>44813</c:v>
                </c:pt>
                <c:pt idx="623">
                  <c:v>44814</c:v>
                </c:pt>
                <c:pt idx="624">
                  <c:v>44815</c:v>
                </c:pt>
                <c:pt idx="625">
                  <c:v>44816</c:v>
                </c:pt>
                <c:pt idx="626">
                  <c:v>44817</c:v>
                </c:pt>
                <c:pt idx="627">
                  <c:v>44818</c:v>
                </c:pt>
                <c:pt idx="628">
                  <c:v>44819</c:v>
                </c:pt>
                <c:pt idx="629">
                  <c:v>44820</c:v>
                </c:pt>
                <c:pt idx="630">
                  <c:v>44821</c:v>
                </c:pt>
                <c:pt idx="631">
                  <c:v>44822</c:v>
                </c:pt>
                <c:pt idx="632">
                  <c:v>44823</c:v>
                </c:pt>
                <c:pt idx="633">
                  <c:v>44824</c:v>
                </c:pt>
                <c:pt idx="634">
                  <c:v>44825</c:v>
                </c:pt>
                <c:pt idx="635">
                  <c:v>44826</c:v>
                </c:pt>
                <c:pt idx="636">
                  <c:v>44827</c:v>
                </c:pt>
                <c:pt idx="637">
                  <c:v>44828</c:v>
                </c:pt>
                <c:pt idx="638">
                  <c:v>44829</c:v>
                </c:pt>
                <c:pt idx="639">
                  <c:v>44830</c:v>
                </c:pt>
                <c:pt idx="640">
                  <c:v>44831</c:v>
                </c:pt>
                <c:pt idx="641">
                  <c:v>44832</c:v>
                </c:pt>
                <c:pt idx="642">
                  <c:v>44833</c:v>
                </c:pt>
                <c:pt idx="643">
                  <c:v>44834</c:v>
                </c:pt>
                <c:pt idx="644">
                  <c:v>44835</c:v>
                </c:pt>
                <c:pt idx="645">
                  <c:v>44836</c:v>
                </c:pt>
                <c:pt idx="646">
                  <c:v>44837</c:v>
                </c:pt>
                <c:pt idx="647">
                  <c:v>44838</c:v>
                </c:pt>
                <c:pt idx="648">
                  <c:v>44839</c:v>
                </c:pt>
                <c:pt idx="649">
                  <c:v>44840</c:v>
                </c:pt>
                <c:pt idx="650">
                  <c:v>44841</c:v>
                </c:pt>
                <c:pt idx="651">
                  <c:v>44842</c:v>
                </c:pt>
                <c:pt idx="652">
                  <c:v>44843</c:v>
                </c:pt>
                <c:pt idx="653">
                  <c:v>44844</c:v>
                </c:pt>
                <c:pt idx="654">
                  <c:v>44845</c:v>
                </c:pt>
                <c:pt idx="655">
                  <c:v>44846</c:v>
                </c:pt>
                <c:pt idx="656">
                  <c:v>44847</c:v>
                </c:pt>
                <c:pt idx="657">
                  <c:v>44848</c:v>
                </c:pt>
                <c:pt idx="658">
                  <c:v>44849</c:v>
                </c:pt>
                <c:pt idx="659">
                  <c:v>44850</c:v>
                </c:pt>
                <c:pt idx="660">
                  <c:v>44851</c:v>
                </c:pt>
                <c:pt idx="661">
                  <c:v>44852</c:v>
                </c:pt>
                <c:pt idx="662">
                  <c:v>44853</c:v>
                </c:pt>
                <c:pt idx="663">
                  <c:v>44854</c:v>
                </c:pt>
                <c:pt idx="664">
                  <c:v>44855</c:v>
                </c:pt>
                <c:pt idx="665">
                  <c:v>44856</c:v>
                </c:pt>
                <c:pt idx="666">
                  <c:v>44857</c:v>
                </c:pt>
                <c:pt idx="667">
                  <c:v>44858</c:v>
                </c:pt>
                <c:pt idx="668">
                  <c:v>44859</c:v>
                </c:pt>
                <c:pt idx="669">
                  <c:v>44860</c:v>
                </c:pt>
                <c:pt idx="670">
                  <c:v>44861</c:v>
                </c:pt>
                <c:pt idx="671">
                  <c:v>44862</c:v>
                </c:pt>
                <c:pt idx="672">
                  <c:v>44863</c:v>
                </c:pt>
                <c:pt idx="673">
                  <c:v>44864</c:v>
                </c:pt>
                <c:pt idx="674">
                  <c:v>44865</c:v>
                </c:pt>
                <c:pt idx="675">
                  <c:v>44866</c:v>
                </c:pt>
                <c:pt idx="676">
                  <c:v>44867</c:v>
                </c:pt>
                <c:pt idx="677">
                  <c:v>44868</c:v>
                </c:pt>
                <c:pt idx="678">
                  <c:v>44869</c:v>
                </c:pt>
                <c:pt idx="679">
                  <c:v>44870</c:v>
                </c:pt>
                <c:pt idx="680">
                  <c:v>44871</c:v>
                </c:pt>
                <c:pt idx="681">
                  <c:v>44872</c:v>
                </c:pt>
                <c:pt idx="682">
                  <c:v>44873</c:v>
                </c:pt>
                <c:pt idx="683">
                  <c:v>44874</c:v>
                </c:pt>
                <c:pt idx="684">
                  <c:v>44875</c:v>
                </c:pt>
                <c:pt idx="685">
                  <c:v>44876</c:v>
                </c:pt>
                <c:pt idx="686">
                  <c:v>44877</c:v>
                </c:pt>
                <c:pt idx="687">
                  <c:v>44878</c:v>
                </c:pt>
                <c:pt idx="688">
                  <c:v>44879</c:v>
                </c:pt>
                <c:pt idx="689">
                  <c:v>44880</c:v>
                </c:pt>
                <c:pt idx="690">
                  <c:v>44881</c:v>
                </c:pt>
                <c:pt idx="691">
                  <c:v>44882</c:v>
                </c:pt>
                <c:pt idx="692">
                  <c:v>44883</c:v>
                </c:pt>
                <c:pt idx="693">
                  <c:v>44884</c:v>
                </c:pt>
                <c:pt idx="694">
                  <c:v>44885</c:v>
                </c:pt>
                <c:pt idx="695">
                  <c:v>44886</c:v>
                </c:pt>
                <c:pt idx="696">
                  <c:v>44887</c:v>
                </c:pt>
                <c:pt idx="697">
                  <c:v>44888</c:v>
                </c:pt>
                <c:pt idx="698">
                  <c:v>44889</c:v>
                </c:pt>
                <c:pt idx="699">
                  <c:v>44890</c:v>
                </c:pt>
                <c:pt idx="700">
                  <c:v>44891</c:v>
                </c:pt>
                <c:pt idx="701">
                  <c:v>44892</c:v>
                </c:pt>
                <c:pt idx="702">
                  <c:v>44893</c:v>
                </c:pt>
                <c:pt idx="703">
                  <c:v>44894</c:v>
                </c:pt>
                <c:pt idx="704">
                  <c:v>44895</c:v>
                </c:pt>
                <c:pt idx="705">
                  <c:v>44896</c:v>
                </c:pt>
                <c:pt idx="706">
                  <c:v>44897</c:v>
                </c:pt>
                <c:pt idx="707">
                  <c:v>44898</c:v>
                </c:pt>
                <c:pt idx="708">
                  <c:v>44899</c:v>
                </c:pt>
                <c:pt idx="709">
                  <c:v>44900</c:v>
                </c:pt>
                <c:pt idx="710">
                  <c:v>44901</c:v>
                </c:pt>
                <c:pt idx="711">
                  <c:v>44902</c:v>
                </c:pt>
                <c:pt idx="712">
                  <c:v>44903</c:v>
                </c:pt>
                <c:pt idx="713">
                  <c:v>44904</c:v>
                </c:pt>
                <c:pt idx="714">
                  <c:v>44905</c:v>
                </c:pt>
                <c:pt idx="715">
                  <c:v>44906</c:v>
                </c:pt>
                <c:pt idx="716">
                  <c:v>44907</c:v>
                </c:pt>
                <c:pt idx="717">
                  <c:v>44908</c:v>
                </c:pt>
                <c:pt idx="718">
                  <c:v>44909</c:v>
                </c:pt>
                <c:pt idx="719">
                  <c:v>44910</c:v>
                </c:pt>
                <c:pt idx="720">
                  <c:v>44911</c:v>
                </c:pt>
                <c:pt idx="721">
                  <c:v>44912</c:v>
                </c:pt>
                <c:pt idx="722">
                  <c:v>44913</c:v>
                </c:pt>
                <c:pt idx="723">
                  <c:v>44914</c:v>
                </c:pt>
                <c:pt idx="724">
                  <c:v>44915</c:v>
                </c:pt>
                <c:pt idx="725">
                  <c:v>44916</c:v>
                </c:pt>
                <c:pt idx="726">
                  <c:v>44917</c:v>
                </c:pt>
                <c:pt idx="727">
                  <c:v>44918</c:v>
                </c:pt>
                <c:pt idx="728">
                  <c:v>44919</c:v>
                </c:pt>
                <c:pt idx="729">
                  <c:v>44920</c:v>
                </c:pt>
                <c:pt idx="730">
                  <c:v>44921</c:v>
                </c:pt>
                <c:pt idx="731">
                  <c:v>44922</c:v>
                </c:pt>
                <c:pt idx="732">
                  <c:v>44923</c:v>
                </c:pt>
                <c:pt idx="733">
                  <c:v>44924</c:v>
                </c:pt>
                <c:pt idx="734">
                  <c:v>44925</c:v>
                </c:pt>
                <c:pt idx="735">
                  <c:v>44926</c:v>
                </c:pt>
                <c:pt idx="736">
                  <c:v>44927</c:v>
                </c:pt>
                <c:pt idx="737">
                  <c:v>44928</c:v>
                </c:pt>
                <c:pt idx="738">
                  <c:v>44929</c:v>
                </c:pt>
                <c:pt idx="739">
                  <c:v>44930</c:v>
                </c:pt>
                <c:pt idx="740">
                  <c:v>44931</c:v>
                </c:pt>
                <c:pt idx="741">
                  <c:v>44932</c:v>
                </c:pt>
                <c:pt idx="742">
                  <c:v>44933</c:v>
                </c:pt>
                <c:pt idx="743">
                  <c:v>44934</c:v>
                </c:pt>
                <c:pt idx="744">
                  <c:v>44935</c:v>
                </c:pt>
                <c:pt idx="745">
                  <c:v>44936</c:v>
                </c:pt>
                <c:pt idx="746">
                  <c:v>44937</c:v>
                </c:pt>
                <c:pt idx="747">
                  <c:v>44938</c:v>
                </c:pt>
                <c:pt idx="748">
                  <c:v>44939</c:v>
                </c:pt>
                <c:pt idx="749">
                  <c:v>44940</c:v>
                </c:pt>
                <c:pt idx="750">
                  <c:v>44941</c:v>
                </c:pt>
                <c:pt idx="751">
                  <c:v>44942</c:v>
                </c:pt>
                <c:pt idx="752">
                  <c:v>44943</c:v>
                </c:pt>
                <c:pt idx="753">
                  <c:v>44944</c:v>
                </c:pt>
                <c:pt idx="754">
                  <c:v>44945</c:v>
                </c:pt>
                <c:pt idx="755">
                  <c:v>44946</c:v>
                </c:pt>
                <c:pt idx="756">
                  <c:v>44947</c:v>
                </c:pt>
                <c:pt idx="757">
                  <c:v>44948</c:v>
                </c:pt>
                <c:pt idx="758">
                  <c:v>44949</c:v>
                </c:pt>
                <c:pt idx="759">
                  <c:v>44950</c:v>
                </c:pt>
                <c:pt idx="760">
                  <c:v>44951</c:v>
                </c:pt>
                <c:pt idx="761">
                  <c:v>44952</c:v>
                </c:pt>
                <c:pt idx="762">
                  <c:v>44953</c:v>
                </c:pt>
                <c:pt idx="763">
                  <c:v>44954</c:v>
                </c:pt>
                <c:pt idx="764">
                  <c:v>44955</c:v>
                </c:pt>
                <c:pt idx="765">
                  <c:v>44956</c:v>
                </c:pt>
                <c:pt idx="766">
                  <c:v>44957</c:v>
                </c:pt>
                <c:pt idx="767">
                  <c:v>44958</c:v>
                </c:pt>
                <c:pt idx="768">
                  <c:v>44959</c:v>
                </c:pt>
                <c:pt idx="769">
                  <c:v>44960</c:v>
                </c:pt>
                <c:pt idx="770">
                  <c:v>44961</c:v>
                </c:pt>
                <c:pt idx="771">
                  <c:v>44962</c:v>
                </c:pt>
                <c:pt idx="772">
                  <c:v>44963</c:v>
                </c:pt>
                <c:pt idx="773">
                  <c:v>44964</c:v>
                </c:pt>
                <c:pt idx="774">
                  <c:v>44965</c:v>
                </c:pt>
                <c:pt idx="775">
                  <c:v>44966</c:v>
                </c:pt>
                <c:pt idx="776">
                  <c:v>44967</c:v>
                </c:pt>
                <c:pt idx="777">
                  <c:v>44968</c:v>
                </c:pt>
                <c:pt idx="778">
                  <c:v>44969</c:v>
                </c:pt>
                <c:pt idx="779">
                  <c:v>44970</c:v>
                </c:pt>
                <c:pt idx="780">
                  <c:v>44971</c:v>
                </c:pt>
                <c:pt idx="781">
                  <c:v>44972</c:v>
                </c:pt>
                <c:pt idx="782">
                  <c:v>44973</c:v>
                </c:pt>
                <c:pt idx="783">
                  <c:v>44974</c:v>
                </c:pt>
                <c:pt idx="784">
                  <c:v>44975</c:v>
                </c:pt>
                <c:pt idx="785">
                  <c:v>44976</c:v>
                </c:pt>
                <c:pt idx="786">
                  <c:v>44977</c:v>
                </c:pt>
                <c:pt idx="787">
                  <c:v>44978</c:v>
                </c:pt>
                <c:pt idx="788">
                  <c:v>44979</c:v>
                </c:pt>
                <c:pt idx="789">
                  <c:v>44980</c:v>
                </c:pt>
                <c:pt idx="790">
                  <c:v>44981</c:v>
                </c:pt>
                <c:pt idx="791">
                  <c:v>44982</c:v>
                </c:pt>
                <c:pt idx="792">
                  <c:v>44983</c:v>
                </c:pt>
              </c:numCache>
            </c:numRef>
          </c:cat>
          <c:val>
            <c:numRef>
              <c:f>List1!$B$2:$B$794</c:f>
              <c:numCache>
                <c:formatCode>General</c:formatCode>
                <c:ptCount val="793"/>
                <c:pt idx="1">
                  <c:v>4.1699060659159999</c:v>
                </c:pt>
                <c:pt idx="2">
                  <c:v>4.67956125175</c:v>
                </c:pt>
                <c:pt idx="3">
                  <c:v>5.5598747545540004</c:v>
                </c:pt>
                <c:pt idx="4">
                  <c:v>4.4015675140220001</c:v>
                </c:pt>
                <c:pt idx="5">
                  <c:v>5.3282133064480002</c:v>
                </c:pt>
                <c:pt idx="6">
                  <c:v>3.938244617809</c:v>
                </c:pt>
                <c:pt idx="7">
                  <c:v>3.2432602734899998</c:v>
                </c:pt>
                <c:pt idx="8">
                  <c:v>4.8648904102349997</c:v>
                </c:pt>
                <c:pt idx="9">
                  <c:v>6.2548590988740003</c:v>
                </c:pt>
                <c:pt idx="10">
                  <c:v>5.0038872790989997</c:v>
                </c:pt>
                <c:pt idx="11">
                  <c:v>5.3745455960689998</c:v>
                </c:pt>
                <c:pt idx="12">
                  <c:v>4.6332289621280003</c:v>
                </c:pt>
                <c:pt idx="13">
                  <c:v>5.0965518583409999</c:v>
                </c:pt>
                <c:pt idx="14">
                  <c:v>4.5405643828860001</c:v>
                </c:pt>
                <c:pt idx="15">
                  <c:v>4.8648904102349997</c:v>
                </c:pt>
                <c:pt idx="16">
                  <c:v>4.9575549894769999</c:v>
                </c:pt>
                <c:pt idx="17">
                  <c:v>5.3745455960689998</c:v>
                </c:pt>
                <c:pt idx="18">
                  <c:v>5.0965518583409999</c:v>
                </c:pt>
                <c:pt idx="19">
                  <c:v>5.4208778856900004</c:v>
                </c:pt>
                <c:pt idx="20">
                  <c:v>5.1428841479629996</c:v>
                </c:pt>
                <c:pt idx="21">
                  <c:v>4.3089049311940002</c:v>
                </c:pt>
                <c:pt idx="22">
                  <c:v>3.1505971539909998</c:v>
                </c:pt>
                <c:pt idx="23">
                  <c:v>5.0502242484890001</c:v>
                </c:pt>
                <c:pt idx="24">
                  <c:v>4.911227250824</c:v>
                </c:pt>
                <c:pt idx="25">
                  <c:v>4.4015756714250003</c:v>
                </c:pt>
                <c:pt idx="26">
                  <c:v>4.5405727978910004</c:v>
                </c:pt>
                <c:pt idx="27">
                  <c:v>4.5869051733799999</c:v>
                </c:pt>
                <c:pt idx="28">
                  <c:v>3.2896001838459998</c:v>
                </c:pt>
                <c:pt idx="29">
                  <c:v>2.8726086112460001</c:v>
                </c:pt>
                <c:pt idx="30">
                  <c:v>4.0772509320910002</c:v>
                </c:pt>
                <c:pt idx="31">
                  <c:v>4.2162500764480004</c:v>
                </c:pt>
                <c:pt idx="32">
                  <c:v>3.706595191156</c:v>
                </c:pt>
                <c:pt idx="33">
                  <c:v>4.4942508338679996</c:v>
                </c:pt>
                <c:pt idx="34">
                  <c:v>4.0772584884579999</c:v>
                </c:pt>
                <c:pt idx="35">
                  <c:v>4.1235909712809997</c:v>
                </c:pt>
                <c:pt idx="36">
                  <c:v>3.3360330489669998</c:v>
                </c:pt>
                <c:pt idx="37">
                  <c:v>4.0316040686759997</c:v>
                </c:pt>
                <c:pt idx="38">
                  <c:v>5.0525535095540004</c:v>
                </c:pt>
                <c:pt idx="39">
                  <c:v>3.7091007887859999</c:v>
                </c:pt>
                <c:pt idx="40">
                  <c:v>4.4050514347709999</c:v>
                </c:pt>
                <c:pt idx="41">
                  <c:v>4.0808414695110002</c:v>
                </c:pt>
                <c:pt idx="42">
                  <c:v>4.4056418185370001</c:v>
                </c:pt>
                <c:pt idx="43">
                  <c:v>4.0811688838690001</c:v>
                </c:pt>
                <c:pt idx="44">
                  <c:v>4.4527996281910003</c:v>
                </c:pt>
                <c:pt idx="45">
                  <c:v>4.8246875550889996</c:v>
                </c:pt>
                <c:pt idx="46">
                  <c:v>4.2687750703529996</c:v>
                </c:pt>
                <c:pt idx="47">
                  <c:v>4.7811908878849998</c:v>
                </c:pt>
                <c:pt idx="48">
                  <c:v>3.8551145758629999</c:v>
                </c:pt>
                <c:pt idx="49">
                  <c:v>3.530456692445</c:v>
                </c:pt>
                <c:pt idx="50">
                  <c:v>3.252216850385</c:v>
                </c:pt>
                <c:pt idx="51">
                  <c:v>4.9279886042580001</c:v>
                </c:pt>
                <c:pt idx="52">
                  <c:v>5.1655993421530004</c:v>
                </c:pt>
                <c:pt idx="53">
                  <c:v>5.5447068783709996</c:v>
                </c:pt>
                <c:pt idx="54">
                  <c:v>4.2003021417340003</c:v>
                </c:pt>
                <c:pt idx="55">
                  <c:v>5.1406985835499999</c:v>
                </c:pt>
                <c:pt idx="56">
                  <c:v>4.0683140065029999</c:v>
                </c:pt>
                <c:pt idx="57">
                  <c:v>4.2585670904480004</c:v>
                </c:pt>
                <c:pt idx="58">
                  <c:v>5.534649485488</c:v>
                </c:pt>
                <c:pt idx="59">
                  <c:v>5.4561660555909999</c:v>
                </c:pt>
                <c:pt idx="60">
                  <c:v>4.4369090414760004</c:v>
                </c:pt>
                <c:pt idx="61">
                  <c:v>5.7856730610999998</c:v>
                </c:pt>
                <c:pt idx="62">
                  <c:v>4.4298476465830001</c:v>
                </c:pt>
                <c:pt idx="63">
                  <c:v>5.1499763720990002</c:v>
                </c:pt>
                <c:pt idx="64">
                  <c:v>4.866718705567</c:v>
                </c:pt>
                <c:pt idx="65">
                  <c:v>7.8952657115780003</c:v>
                </c:pt>
                <c:pt idx="66">
                  <c:v>6.2863564949570003</c:v>
                </c:pt>
                <c:pt idx="67">
                  <c:v>6.2063032948250001</c:v>
                </c:pt>
                <c:pt idx="68">
                  <c:v>6.2696983069399996</c:v>
                </c:pt>
                <c:pt idx="69">
                  <c:v>6.8165534925399998</c:v>
                </c:pt>
                <c:pt idx="70">
                  <c:v>4.7401777953620003</c:v>
                </c:pt>
                <c:pt idx="71">
                  <c:v>5.4197342201050001</c:v>
                </c:pt>
                <c:pt idx="72">
                  <c:v>7.0310291438580004</c:v>
                </c:pt>
                <c:pt idx="73">
                  <c:v>6.5132267108389996</c:v>
                </c:pt>
                <c:pt idx="74">
                  <c:v>6.9164680617469996</c:v>
                </c:pt>
                <c:pt idx="75">
                  <c:v>6.0020670533359999</c:v>
                </c:pt>
                <c:pt idx="76">
                  <c:v>6.1102285225459996</c:v>
                </c:pt>
                <c:pt idx="77">
                  <c:v>5.1338291471430004</c:v>
                </c:pt>
                <c:pt idx="78">
                  <c:v>5.4284780894880003</c:v>
                </c:pt>
                <c:pt idx="79">
                  <c:v>6.4632885211989999</c:v>
                </c:pt>
                <c:pt idx="80">
                  <c:v>6.1278835368770004</c:v>
                </c:pt>
                <c:pt idx="81">
                  <c:v>5.6457512040170004</c:v>
                </c:pt>
                <c:pt idx="82">
                  <c:v>5.9499223067990004</c:v>
                </c:pt>
                <c:pt idx="83">
                  <c:v>4.8278287874560002</c:v>
                </c:pt>
                <c:pt idx="84">
                  <c:v>4.9775198447799998</c:v>
                </c:pt>
                <c:pt idx="85">
                  <c:v>4.8808120488020004</c:v>
                </c:pt>
                <c:pt idx="86">
                  <c:v>5.8770627131969997</c:v>
                </c:pt>
                <c:pt idx="87">
                  <c:v>5.8409162120560003</c:v>
                </c:pt>
                <c:pt idx="88">
                  <c:v>5.308424419943</c:v>
                </c:pt>
                <c:pt idx="89">
                  <c:v>5.7703404500859996</c:v>
                </c:pt>
                <c:pt idx="90">
                  <c:v>4.2895014452120002</c:v>
                </c:pt>
                <c:pt idx="91">
                  <c:v>4.4415144865730003</c:v>
                </c:pt>
                <c:pt idx="92">
                  <c:v>4.2434968410909999</c:v>
                </c:pt>
                <c:pt idx="93">
                  <c:v>5.3580934000799996</c:v>
                </c:pt>
                <c:pt idx="94">
                  <c:v>4.6247772440850001</c:v>
                </c:pt>
                <c:pt idx="95">
                  <c:v>4.6922182335559999</c:v>
                </c:pt>
                <c:pt idx="96">
                  <c:v>4.459794697405</c:v>
                </c:pt>
                <c:pt idx="97">
                  <c:v>3.4626215100079998</c:v>
                </c:pt>
                <c:pt idx="98">
                  <c:v>3.8220572452439998</c:v>
                </c:pt>
                <c:pt idx="99">
                  <c:v>2.9065898511060002</c:v>
                </c:pt>
                <c:pt idx="100">
                  <c:v>3.1228626309040002</c:v>
                </c:pt>
                <c:pt idx="101">
                  <c:v>6.3756196305320003</c:v>
                </c:pt>
                <c:pt idx="102">
                  <c:v>5.1163980557680002</c:v>
                </c:pt>
                <c:pt idx="103">
                  <c:v>4.1079763380559999</c:v>
                </c:pt>
                <c:pt idx="104">
                  <c:v>2.876450188512</c:v>
                </c:pt>
                <c:pt idx="105">
                  <c:v>3.352995508557</c:v>
                </c:pt>
                <c:pt idx="106">
                  <c:v>2.9381858171670001</c:v>
                </c:pt>
                <c:pt idx="107">
                  <c:v>3.4871556433799999</c:v>
                </c:pt>
                <c:pt idx="108">
                  <c:v>3.6191754560290001</c:v>
                </c:pt>
                <c:pt idx="109">
                  <c:v>3.2243953452619998</c:v>
                </c:pt>
                <c:pt idx="110">
                  <c:v>3.4253297151700002</c:v>
                </c:pt>
                <c:pt idx="111">
                  <c:v>3.3876190174369998</c:v>
                </c:pt>
                <c:pt idx="112">
                  <c:v>2.413903204675</c:v>
                </c:pt>
                <c:pt idx="113">
                  <c:v>2.146720059447</c:v>
                </c:pt>
                <c:pt idx="114">
                  <c:v>3.4771685251119999</c:v>
                </c:pt>
                <c:pt idx="115">
                  <c:v>2.4535471042010002</c:v>
                </c:pt>
                <c:pt idx="116">
                  <c:v>2.642481773903</c:v>
                </c:pt>
                <c:pt idx="117">
                  <c:v>2.1638057927349998</c:v>
                </c:pt>
                <c:pt idx="118">
                  <c:v>2.5918911820399999</c:v>
                </c:pt>
                <c:pt idx="119">
                  <c:v>1.7393653751489999</c:v>
                </c:pt>
                <c:pt idx="120">
                  <c:v>1.5140371626239999</c:v>
                </c:pt>
                <c:pt idx="121">
                  <c:v>2.354066974382</c:v>
                </c:pt>
                <c:pt idx="122">
                  <c:v>1.962368900377</c:v>
                </c:pt>
                <c:pt idx="123">
                  <c:v>2.5870995184979999</c:v>
                </c:pt>
                <c:pt idx="124">
                  <c:v>1.7642800216579999</c:v>
                </c:pt>
                <c:pt idx="125">
                  <c:v>1.658097781096</c:v>
                </c:pt>
                <c:pt idx="126">
                  <c:v>1.3557475376229999</c:v>
                </c:pt>
                <c:pt idx="127">
                  <c:v>1.605791720167</c:v>
                </c:pt>
                <c:pt idx="128">
                  <c:v>1.8651577954580001</c:v>
                </c:pt>
                <c:pt idx="129">
                  <c:v>2.3788165137439998</c:v>
                </c:pt>
                <c:pt idx="130">
                  <c:v>1.7003161328509999</c:v>
                </c:pt>
                <c:pt idx="131">
                  <c:v>1.2681664848959999</c:v>
                </c:pt>
                <c:pt idx="132">
                  <c:v>1.0826729028619999</c:v>
                </c:pt>
                <c:pt idx="133">
                  <c:v>1.212894214558</c:v>
                </c:pt>
                <c:pt idx="134">
                  <c:v>1.0228995237759999</c:v>
                </c:pt>
                <c:pt idx="135">
                  <c:v>1.9238847080020001</c:v>
                </c:pt>
                <c:pt idx="136">
                  <c:v>1.7400293098270001</c:v>
                </c:pt>
                <c:pt idx="137">
                  <c:v>0.84250857576500005</c:v>
                </c:pt>
                <c:pt idx="138">
                  <c:v>0.91300318703299999</c:v>
                </c:pt>
                <c:pt idx="139">
                  <c:v>1.374275396936</c:v>
                </c:pt>
                <c:pt idx="140">
                  <c:v>0.52428315746900001</c:v>
                </c:pt>
                <c:pt idx="141">
                  <c:v>0.52474190897100004</c:v>
                </c:pt>
                <c:pt idx="142">
                  <c:v>0.78874876182800002</c:v>
                </c:pt>
                <c:pt idx="143">
                  <c:v>1.055546832633</c:v>
                </c:pt>
                <c:pt idx="144">
                  <c:v>0.86117352779</c:v>
                </c:pt>
                <c:pt idx="145">
                  <c:v>0.26620347262400001</c:v>
                </c:pt>
                <c:pt idx="146">
                  <c:v>0.73484760930600002</c:v>
                </c:pt>
                <c:pt idx="147">
                  <c:v>0.66851533440400002</c:v>
                </c:pt>
                <c:pt idx="148">
                  <c:v>0.26751111007</c:v>
                </c:pt>
                <c:pt idx="149">
                  <c:v>0.73787916088299998</c:v>
                </c:pt>
                <c:pt idx="150">
                  <c:v>0.40412612776399998</c:v>
                </c:pt>
                <c:pt idx="151">
                  <c:v>0.54105161497099996</c:v>
                </c:pt>
                <c:pt idx="152">
                  <c:v>0.20371812745000001</c:v>
                </c:pt>
                <c:pt idx="153">
                  <c:v>0.20431541396299999</c:v>
                </c:pt>
                <c:pt idx="154">
                  <c:v>0.27264244374800001</c:v>
                </c:pt>
                <c:pt idx="155">
                  <c:v>0.27280626254000001</c:v>
                </c:pt>
                <c:pt idx="156">
                  <c:v>0.75231010495999995</c:v>
                </c:pt>
                <c:pt idx="157">
                  <c:v>0.13759132624199999</c:v>
                </c:pt>
                <c:pt idx="158">
                  <c:v>0.20775623268599999</c:v>
                </c:pt>
                <c:pt idx="159">
                  <c:v>0.21046192182599999</c:v>
                </c:pt>
                <c:pt idx="160">
                  <c:v>0.42596089678900001</c:v>
                </c:pt>
                <c:pt idx="161">
                  <c:v>7.1339244502999999E-2</c:v>
                </c:pt>
                <c:pt idx="162">
                  <c:v>0</c:v>
                </c:pt>
                <c:pt idx="163">
                  <c:v>0.145630891224</c:v>
                </c:pt>
                <c:pt idx="164">
                  <c:v>0.37001077471299998</c:v>
                </c:pt>
                <c:pt idx="165">
                  <c:v>0.150706133588</c:v>
                </c:pt>
                <c:pt idx="166">
                  <c:v>0.23122010998299999</c:v>
                </c:pt>
                <c:pt idx="168">
                  <c:v>0.23771621279999999</c:v>
                </c:pt>
                <c:pt idx="170">
                  <c:v>0.32673118518400002</c:v>
                </c:pt>
                <c:pt idx="172">
                  <c:v>0.25945070825700001</c:v>
                </c:pt>
                <c:pt idx="173">
                  <c:v>8.9700177157000002E-2</c:v>
                </c:pt>
                <c:pt idx="174">
                  <c:v>0.27754443486399999</c:v>
                </c:pt>
                <c:pt idx="176">
                  <c:v>9.4398844558000003E-2</c:v>
                </c:pt>
                <c:pt idx="180">
                  <c:v>0.21962503417900001</c:v>
                </c:pt>
                <c:pt idx="181">
                  <c:v>0.340882362632</c:v>
                </c:pt>
                <c:pt idx="184">
                  <c:v>0.119304407582</c:v>
                </c:pt>
                <c:pt idx="185">
                  <c:v>0.123301825606</c:v>
                </c:pt>
                <c:pt idx="187">
                  <c:v>0.131850107523</c:v>
                </c:pt>
                <c:pt idx="193">
                  <c:v>0.149911102716</c:v>
                </c:pt>
                <c:pt idx="194">
                  <c:v>0.15444420934600001</c:v>
                </c:pt>
                <c:pt idx="196">
                  <c:v>0.15912316769599999</c:v>
                </c:pt>
                <c:pt idx="198">
                  <c:v>0.16390648151699999</c:v>
                </c:pt>
                <c:pt idx="200">
                  <c:v>0</c:v>
                </c:pt>
                <c:pt idx="202">
                  <c:v>0</c:v>
                </c:pt>
                <c:pt idx="205">
                  <c:v>0.37047465212399999</c:v>
                </c:pt>
                <c:pt idx="206">
                  <c:v>0.18601951716699999</c:v>
                </c:pt>
                <c:pt idx="207">
                  <c:v>0</c:v>
                </c:pt>
                <c:pt idx="209">
                  <c:v>0</c:v>
                </c:pt>
                <c:pt idx="212">
                  <c:v>0.20361663873700001</c:v>
                </c:pt>
                <c:pt idx="213">
                  <c:v>0.20802952354900001</c:v>
                </c:pt>
                <c:pt idx="214">
                  <c:v>0.21263385301000001</c:v>
                </c:pt>
                <c:pt idx="215">
                  <c:v>0.21733413602000001</c:v>
                </c:pt>
                <c:pt idx="216">
                  <c:v>0.22084025299400001</c:v>
                </c:pt>
                <c:pt idx="217">
                  <c:v>0</c:v>
                </c:pt>
                <c:pt idx="219">
                  <c:v>0.45080683152599998</c:v>
                </c:pt>
                <c:pt idx="221">
                  <c:v>0.23340654518599999</c:v>
                </c:pt>
                <c:pt idx="223">
                  <c:v>0.23951235284899999</c:v>
                </c:pt>
                <c:pt idx="224">
                  <c:v>0.24027487445599999</c:v>
                </c:pt>
                <c:pt idx="225">
                  <c:v>0.240627556667</c:v>
                </c:pt>
                <c:pt idx="227">
                  <c:v>0</c:v>
                </c:pt>
                <c:pt idx="228">
                  <c:v>0.24936225603000001</c:v>
                </c:pt>
                <c:pt idx="229">
                  <c:v>0.25231308016199999</c:v>
                </c:pt>
                <c:pt idx="230">
                  <c:v>0.254414084363</c:v>
                </c:pt>
                <c:pt idx="231">
                  <c:v>0.25499535908400001</c:v>
                </c:pt>
                <c:pt idx="232">
                  <c:v>0.25533131791800001</c:v>
                </c:pt>
                <c:pt idx="233">
                  <c:v>0.25735918592099999</c:v>
                </c:pt>
                <c:pt idx="234">
                  <c:v>0.77953866901500002</c:v>
                </c:pt>
                <c:pt idx="235">
                  <c:v>0.26221942521500002</c:v>
                </c:pt>
                <c:pt idx="236">
                  <c:v>0.26475408316900001</c:v>
                </c:pt>
                <c:pt idx="237">
                  <c:v>0.53361223466100005</c:v>
                </c:pt>
                <c:pt idx="240">
                  <c:v>0.54037842701200001</c:v>
                </c:pt>
                <c:pt idx="241">
                  <c:v>0.272880333787</c:v>
                </c:pt>
                <c:pt idx="242">
                  <c:v>0.55114182808199996</c:v>
                </c:pt>
                <c:pt idx="243">
                  <c:v>0.27820203588199999</c:v>
                </c:pt>
                <c:pt idx="244">
                  <c:v>0</c:v>
                </c:pt>
                <c:pt idx="248">
                  <c:v>0.285174084519</c:v>
                </c:pt>
                <c:pt idx="249">
                  <c:v>0.86362497948799999</c:v>
                </c:pt>
                <c:pt idx="250">
                  <c:v>0.29065796242899999</c:v>
                </c:pt>
                <c:pt idx="251">
                  <c:v>1.172178346935</c:v>
                </c:pt>
                <c:pt idx="253">
                  <c:v>0.58836681140400005</c:v>
                </c:pt>
                <c:pt idx="254">
                  <c:v>0.88952143746599999</c:v>
                </c:pt>
                <c:pt idx="255">
                  <c:v>0.89665994171700003</c:v>
                </c:pt>
                <c:pt idx="257">
                  <c:v>0</c:v>
                </c:pt>
                <c:pt idx="258">
                  <c:v>0.304615225278</c:v>
                </c:pt>
                <c:pt idx="259">
                  <c:v>0.30494312810599999</c:v>
                </c:pt>
                <c:pt idx="260">
                  <c:v>0.61032921157599995</c:v>
                </c:pt>
                <c:pt idx="261">
                  <c:v>1.2262190149779999</c:v>
                </c:pt>
                <c:pt idx="262">
                  <c:v>0.92377899511299999</c:v>
                </c:pt>
                <c:pt idx="263">
                  <c:v>0.61802978285499999</c:v>
                </c:pt>
                <c:pt idx="264">
                  <c:v>0.62028775148699999</c:v>
                </c:pt>
                <c:pt idx="265">
                  <c:v>0.31105843854800003</c:v>
                </c:pt>
                <c:pt idx="266">
                  <c:v>0</c:v>
                </c:pt>
                <c:pt idx="267">
                  <c:v>0.31136740107799998</c:v>
                </c:pt>
                <c:pt idx="268">
                  <c:v>0.31223460058899999</c:v>
                </c:pt>
                <c:pt idx="269">
                  <c:v>0.62627995966700001</c:v>
                </c:pt>
                <c:pt idx="271">
                  <c:v>0.31480892672100003</c:v>
                </c:pt>
                <c:pt idx="272">
                  <c:v>0</c:v>
                </c:pt>
                <c:pt idx="273">
                  <c:v>0.94733152498200002</c:v>
                </c:pt>
                <c:pt idx="274">
                  <c:v>0.31586195568999997</c:v>
                </c:pt>
                <c:pt idx="275">
                  <c:v>0.31672431049100003</c:v>
                </c:pt>
                <c:pt idx="276">
                  <c:v>0.95262288835200004</c:v>
                </c:pt>
                <c:pt idx="277">
                  <c:v>0.318283813676</c:v>
                </c:pt>
                <c:pt idx="278">
                  <c:v>0.63813969516000002</c:v>
                </c:pt>
                <c:pt idx="279">
                  <c:v>0.63979321883100004</c:v>
                </c:pt>
                <c:pt idx="280">
                  <c:v>0.96013518703400003</c:v>
                </c:pt>
                <c:pt idx="281">
                  <c:v>1.2804753124349999</c:v>
                </c:pt>
                <c:pt idx="282">
                  <c:v>0.320787340448</c:v>
                </c:pt>
                <c:pt idx="283">
                  <c:v>0.96436975222099997</c:v>
                </c:pt>
                <c:pt idx="284">
                  <c:v>1.610202241401</c:v>
                </c:pt>
                <c:pt idx="285">
                  <c:v>0.96811669033100001</c:v>
                </c:pt>
                <c:pt idx="286">
                  <c:v>0.97024579560099999</c:v>
                </c:pt>
                <c:pt idx="287">
                  <c:v>0.97060365076300004</c:v>
                </c:pt>
                <c:pt idx="288">
                  <c:v>0</c:v>
                </c:pt>
                <c:pt idx="289">
                  <c:v>3.8898397386019998</c:v>
                </c:pt>
                <c:pt idx="290">
                  <c:v>3.2419324510949998</c:v>
                </c:pt>
                <c:pt idx="291">
                  <c:v>0.97490275344999999</c:v>
                </c:pt>
                <c:pt idx="292">
                  <c:v>1.95479854172</c:v>
                </c:pt>
                <c:pt idx="293">
                  <c:v>1.6322959548439999</c:v>
                </c:pt>
                <c:pt idx="294">
                  <c:v>1.6327970139400001</c:v>
                </c:pt>
                <c:pt idx="295">
                  <c:v>0</c:v>
                </c:pt>
                <c:pt idx="296">
                  <c:v>1.963228725962</c:v>
                </c:pt>
                <c:pt idx="297">
                  <c:v>1.6390325774109999</c:v>
                </c:pt>
                <c:pt idx="298">
                  <c:v>2.6271283844800002</c:v>
                </c:pt>
                <c:pt idx="299">
                  <c:v>1.3161488169460001</c:v>
                </c:pt>
                <c:pt idx="300">
                  <c:v>3.2965547706090002</c:v>
                </c:pt>
                <c:pt idx="301">
                  <c:v>1.978350253723</c:v>
                </c:pt>
                <c:pt idx="302">
                  <c:v>2.3083569115499998</c:v>
                </c:pt>
                <c:pt idx="303">
                  <c:v>4.2938017320529998</c:v>
                </c:pt>
                <c:pt idx="304">
                  <c:v>5.2933333774440001</c:v>
                </c:pt>
                <c:pt idx="305">
                  <c:v>2.6509202006739998</c:v>
                </c:pt>
                <c:pt idx="306">
                  <c:v>2.6562012338050001</c:v>
                </c:pt>
                <c:pt idx="307">
                  <c:v>5.3218381629009999</c:v>
                </c:pt>
                <c:pt idx="308">
                  <c:v>4.990584430707</c:v>
                </c:pt>
                <c:pt idx="309">
                  <c:v>5.3240340205769998</c:v>
                </c:pt>
                <c:pt idx="310">
                  <c:v>8.3312227569009991</c:v>
                </c:pt>
                <c:pt idx="311">
                  <c:v>4.6689700252120003</c:v>
                </c:pt>
                <c:pt idx="312">
                  <c:v>8.6842667806749994</c:v>
                </c:pt>
                <c:pt idx="313">
                  <c:v>7.0294063498970001</c:v>
                </c:pt>
                <c:pt idx="314">
                  <c:v>11.401208528103</c:v>
                </c:pt>
                <c:pt idx="315">
                  <c:v>4.0252382437880003</c:v>
                </c:pt>
                <c:pt idx="316">
                  <c:v>7.7175769492750002</c:v>
                </c:pt>
                <c:pt idx="317">
                  <c:v>11.093816709977</c:v>
                </c:pt>
                <c:pt idx="318">
                  <c:v>9.7679604161819995</c:v>
                </c:pt>
                <c:pt idx="319">
                  <c:v>7.0908335781350003</c:v>
                </c:pt>
                <c:pt idx="320">
                  <c:v>8.1074507472359993</c:v>
                </c:pt>
                <c:pt idx="321">
                  <c:v>5.4161462088660004</c:v>
                </c:pt>
                <c:pt idx="322">
                  <c:v>5.7570718855080001</c:v>
                </c:pt>
                <c:pt idx="323">
                  <c:v>5.7593343564620003</c:v>
                </c:pt>
                <c:pt idx="324">
                  <c:v>10.867276592565</c:v>
                </c:pt>
                <c:pt idx="325">
                  <c:v>6.1268252833650001</c:v>
                </c:pt>
                <c:pt idx="326">
                  <c:v>9.5554008490650002</c:v>
                </c:pt>
                <c:pt idx="327">
                  <c:v>10.607284124659</c:v>
                </c:pt>
                <c:pt idx="328">
                  <c:v>16.816355106509</c:v>
                </c:pt>
                <c:pt idx="329">
                  <c:v>11.330160888284</c:v>
                </c:pt>
                <c:pt idx="330">
                  <c:v>11.677267794095</c:v>
                </c:pt>
                <c:pt idx="331">
                  <c:v>12.049022307904</c:v>
                </c:pt>
                <c:pt idx="332">
                  <c:v>15.870332483465001</c:v>
                </c:pt>
                <c:pt idx="333">
                  <c:v>11.411932731843001</c:v>
                </c:pt>
                <c:pt idx="334">
                  <c:v>12.484740872267</c:v>
                </c:pt>
                <c:pt idx="335">
                  <c:v>12.523612227219999</c:v>
                </c:pt>
                <c:pt idx="336">
                  <c:v>8.0052347274039999</c:v>
                </c:pt>
                <c:pt idx="337">
                  <c:v>8.3565750577119999</c:v>
                </c:pt>
                <c:pt idx="338">
                  <c:v>17.465235448839</c:v>
                </c:pt>
                <c:pt idx="339">
                  <c:v>14.369175664924001</c:v>
                </c:pt>
                <c:pt idx="340">
                  <c:v>12.62612977557</c:v>
                </c:pt>
                <c:pt idx="341">
                  <c:v>10.557320974229</c:v>
                </c:pt>
                <c:pt idx="342">
                  <c:v>16.95489996609</c:v>
                </c:pt>
                <c:pt idx="343">
                  <c:v>8.4829333983689992</c:v>
                </c:pt>
                <c:pt idx="344">
                  <c:v>8.4871631657109994</c:v>
                </c:pt>
                <c:pt idx="345">
                  <c:v>12.780777710322999</c:v>
                </c:pt>
                <c:pt idx="346">
                  <c:v>12.118706292460001</c:v>
                </c:pt>
                <c:pt idx="347">
                  <c:v>15.044704264099</c:v>
                </c:pt>
                <c:pt idx="348">
                  <c:v>10.797581341779001</c:v>
                </c:pt>
                <c:pt idx="349">
                  <c:v>10.125776610901999</c:v>
                </c:pt>
                <c:pt idx="350">
                  <c:v>11.220176048180999</c:v>
                </c:pt>
                <c:pt idx="351">
                  <c:v>9.7765160841790006</c:v>
                </c:pt>
                <c:pt idx="352">
                  <c:v>6.9110762728199999</c:v>
                </c:pt>
                <c:pt idx="353">
                  <c:v>14.974324511873</c:v>
                </c:pt>
                <c:pt idx="354">
                  <c:v>8.8043346674340004</c:v>
                </c:pt>
                <c:pt idx="355">
                  <c:v>10.319575128348999</c:v>
                </c:pt>
                <c:pt idx="356">
                  <c:v>11.475828573332</c:v>
                </c:pt>
                <c:pt idx="357">
                  <c:v>10.744003734467</c:v>
                </c:pt>
                <c:pt idx="358">
                  <c:v>6.3008936149699997</c:v>
                </c:pt>
                <c:pt idx="359">
                  <c:v>11.53698720883</c:v>
                </c:pt>
                <c:pt idx="360">
                  <c:v>12.336863670179</c:v>
                </c:pt>
                <c:pt idx="361">
                  <c:v>8.6178471868340001</c:v>
                </c:pt>
                <c:pt idx="362">
                  <c:v>10.169070208013</c:v>
                </c:pt>
                <c:pt idx="363">
                  <c:v>6.0559723242060004</c:v>
                </c:pt>
                <c:pt idx="364">
                  <c:v>4.5466256459989998</c:v>
                </c:pt>
                <c:pt idx="365">
                  <c:v>10.995927715045999</c:v>
                </c:pt>
                <c:pt idx="366">
                  <c:v>18.278959774863999</c:v>
                </c:pt>
                <c:pt idx="367">
                  <c:v>11.864984135366999</c:v>
                </c:pt>
                <c:pt idx="368">
                  <c:v>10.77333292292</c:v>
                </c:pt>
                <c:pt idx="369">
                  <c:v>8.5166345357270004</c:v>
                </c:pt>
                <c:pt idx="370">
                  <c:v>8.1760736936770009</c:v>
                </c:pt>
                <c:pt idx="371">
                  <c:v>7.4075229243339997</c:v>
                </c:pt>
                <c:pt idx="372">
                  <c:v>4.6806618455839999</c:v>
                </c:pt>
                <c:pt idx="373">
                  <c:v>6.6684710764870001</c:v>
                </c:pt>
                <c:pt idx="374">
                  <c:v>7.4933841305889999</c:v>
                </c:pt>
                <c:pt idx="375">
                  <c:v>8.7267996049129994</c:v>
                </c:pt>
                <c:pt idx="376">
                  <c:v>12.322907888251001</c:v>
                </c:pt>
                <c:pt idx="377">
                  <c:v>5.5653833157749997</c:v>
                </c:pt>
                <c:pt idx="378">
                  <c:v>6.7579654548699999</c:v>
                </c:pt>
                <c:pt idx="379">
                  <c:v>4.3728880938180001</c:v>
                </c:pt>
                <c:pt idx="380">
                  <c:v>8.380824673147</c:v>
                </c:pt>
                <c:pt idx="381">
                  <c:v>8.41410203501</c:v>
                </c:pt>
                <c:pt idx="382">
                  <c:v>5.6305626943040004</c:v>
                </c:pt>
                <c:pt idx="383">
                  <c:v>4.4355911836570003</c:v>
                </c:pt>
                <c:pt idx="384">
                  <c:v>2.420584651879</c:v>
                </c:pt>
                <c:pt idx="385">
                  <c:v>3.2274722437380001</c:v>
                </c:pt>
                <c:pt idx="386">
                  <c:v>2.4212097978279998</c:v>
                </c:pt>
                <c:pt idx="387">
                  <c:v>3.2403356987779999</c:v>
                </c:pt>
                <c:pt idx="388">
                  <c:v>3.2543608435300002</c:v>
                </c:pt>
                <c:pt idx="389">
                  <c:v>3.269255917353</c:v>
                </c:pt>
                <c:pt idx="390">
                  <c:v>3.2844632571200001</c:v>
                </c:pt>
                <c:pt idx="391">
                  <c:v>4.1225383293000002</c:v>
                </c:pt>
                <c:pt idx="392">
                  <c:v>2.4748799683209999</c:v>
                </c:pt>
                <c:pt idx="393">
                  <c:v>3.7128712871279999</c:v>
                </c:pt>
                <c:pt idx="394">
                  <c:v>6.2033456710979999</c:v>
                </c:pt>
                <c:pt idx="395">
                  <c:v>4.1475705605439996</c:v>
                </c:pt>
                <c:pt idx="396">
                  <c:v>2.9102277876859999</c:v>
                </c:pt>
                <c:pt idx="397">
                  <c:v>6.6647227891860004</c:v>
                </c:pt>
                <c:pt idx="398">
                  <c:v>5.8415845715400003</c:v>
                </c:pt>
                <c:pt idx="399">
                  <c:v>3.3385916151270001</c:v>
                </c:pt>
                <c:pt idx="400">
                  <c:v>5.4257548059660001</c:v>
                </c:pt>
                <c:pt idx="401">
                  <c:v>8.3585832201440002</c:v>
                </c:pt>
                <c:pt idx="402">
                  <c:v>7.1160374554720001</c:v>
                </c:pt>
                <c:pt idx="403">
                  <c:v>8.3805086130670006</c:v>
                </c:pt>
                <c:pt idx="404">
                  <c:v>3.7755320353889998</c:v>
                </c:pt>
                <c:pt idx="405">
                  <c:v>5.4574611890540004</c:v>
                </c:pt>
                <c:pt idx="406">
                  <c:v>7.1372493041179998</c:v>
                </c:pt>
                <c:pt idx="407">
                  <c:v>5.4582860981649999</c:v>
                </c:pt>
                <c:pt idx="408">
                  <c:v>8.4056923348490002</c:v>
                </c:pt>
                <c:pt idx="409">
                  <c:v>6.7327315954460003</c:v>
                </c:pt>
                <c:pt idx="410">
                  <c:v>8.8486625878539993</c:v>
                </c:pt>
                <c:pt idx="411">
                  <c:v>7.174236893302</c:v>
                </c:pt>
                <c:pt idx="412">
                  <c:v>10.99012579467</c:v>
                </c:pt>
                <c:pt idx="413">
                  <c:v>5.9186857135600004</c:v>
                </c:pt>
                <c:pt idx="414">
                  <c:v>6.7646698206930003</c:v>
                </c:pt>
                <c:pt idx="415">
                  <c:v>8.4657876357169997</c:v>
                </c:pt>
                <c:pt idx="416">
                  <c:v>7.6292845850299997</c:v>
                </c:pt>
                <c:pt idx="417">
                  <c:v>7.2143642235429999</c:v>
                </c:pt>
                <c:pt idx="418">
                  <c:v>9.3501636278629991</c:v>
                </c:pt>
                <c:pt idx="419">
                  <c:v>6.8093509411789999</c:v>
                </c:pt>
                <c:pt idx="420">
                  <c:v>7.2360440121730001</c:v>
                </c:pt>
                <c:pt idx="421">
                  <c:v>6.3849349587950002</c:v>
                </c:pt>
                <c:pt idx="422">
                  <c:v>7.6701821668259997</c:v>
                </c:pt>
                <c:pt idx="423">
                  <c:v>6.3982801422969997</c:v>
                </c:pt>
                <c:pt idx="424">
                  <c:v>7.6860340491299999</c:v>
                </c:pt>
                <c:pt idx="425">
                  <c:v>5.556790397866</c:v>
                </c:pt>
                <c:pt idx="426">
                  <c:v>4.706889174154</c:v>
                </c:pt>
                <c:pt idx="427">
                  <c:v>4.7073927463349996</c:v>
                </c:pt>
                <c:pt idx="428">
                  <c:v>5.563520424539</c:v>
                </c:pt>
                <c:pt idx="429">
                  <c:v>4.2826185642940002</c:v>
                </c:pt>
                <c:pt idx="430">
                  <c:v>5.9998285763260002</c:v>
                </c:pt>
                <c:pt idx="431">
                  <c:v>5.5749009382979997</c:v>
                </c:pt>
                <c:pt idx="432">
                  <c:v>5.5793991416299997</c:v>
                </c:pt>
                <c:pt idx="433">
                  <c:v>5.1542627900879996</c:v>
                </c:pt>
                <c:pt idx="434">
                  <c:v>2.1477294204559998</c:v>
                </c:pt>
                <c:pt idx="435">
                  <c:v>2.5772863751749999</c:v>
                </c:pt>
                <c:pt idx="436">
                  <c:v>7.7348493638080003</c:v>
                </c:pt>
                <c:pt idx="437">
                  <c:v>2.149603828014</c:v>
                </c:pt>
                <c:pt idx="438">
                  <c:v>2.580811665268</c:v>
                </c:pt>
                <c:pt idx="439">
                  <c:v>3.0123722431409998</c:v>
                </c:pt>
                <c:pt idx="440">
                  <c:v>3.0139546098430001</c:v>
                </c:pt>
                <c:pt idx="441">
                  <c:v>3.8751345532829999</c:v>
                </c:pt>
                <c:pt idx="442">
                  <c:v>3.8751679239430001</c:v>
                </c:pt>
                <c:pt idx="443">
                  <c:v>4.3069846369849998</c:v>
                </c:pt>
                <c:pt idx="444">
                  <c:v>3.4464634976430002</c:v>
                </c:pt>
                <c:pt idx="445">
                  <c:v>3.016591251885</c:v>
                </c:pt>
                <c:pt idx="446">
                  <c:v>2.155302475149</c:v>
                </c:pt>
                <c:pt idx="447">
                  <c:v>1.293649903838</c:v>
                </c:pt>
                <c:pt idx="448">
                  <c:v>2.5873109645920001</c:v>
                </c:pt>
                <c:pt idx="449">
                  <c:v>1.7248739763950001</c:v>
                </c:pt>
                <c:pt idx="450">
                  <c:v>6.0380222889270003</c:v>
                </c:pt>
                <c:pt idx="451">
                  <c:v>4.3135241924000001</c:v>
                </c:pt>
                <c:pt idx="452">
                  <c:v>3.8829254823450001</c:v>
                </c:pt>
                <c:pt idx="453">
                  <c:v>4.7466169566409997</c:v>
                </c:pt>
                <c:pt idx="454">
                  <c:v>3.0213827574000001</c:v>
                </c:pt>
                <c:pt idx="455">
                  <c:v>3.0213827574000001</c:v>
                </c:pt>
                <c:pt idx="456">
                  <c:v>1.2948839136570001</c:v>
                </c:pt>
                <c:pt idx="457">
                  <c:v>4.748133120386</c:v>
                </c:pt>
                <c:pt idx="458">
                  <c:v>3.8852386831630001</c:v>
                </c:pt>
                <c:pt idx="459">
                  <c:v>3.454112120479</c:v>
                </c:pt>
                <c:pt idx="460">
                  <c:v>1.2954430631180001</c:v>
                </c:pt>
                <c:pt idx="461">
                  <c:v>2.1594540900060002</c:v>
                </c:pt>
                <c:pt idx="462">
                  <c:v>1.727570733224</c:v>
                </c:pt>
                <c:pt idx="463">
                  <c:v>1.727570733224</c:v>
                </c:pt>
                <c:pt idx="464">
                  <c:v>1.29578997836</c:v>
                </c:pt>
                <c:pt idx="465">
                  <c:v>3.8876553982250002</c:v>
                </c:pt>
                <c:pt idx="466">
                  <c:v>3.0240977388379999</c:v>
                </c:pt>
                <c:pt idx="467">
                  <c:v>2.1603684724460002</c:v>
                </c:pt>
                <c:pt idx="468">
                  <c:v>1.296495572467</c:v>
                </c:pt>
                <c:pt idx="469">
                  <c:v>1.7286682339920001</c:v>
                </c:pt>
                <c:pt idx="470">
                  <c:v>1.2965067785690001</c:v>
                </c:pt>
                <c:pt idx="471">
                  <c:v>1.72898953529</c:v>
                </c:pt>
                <c:pt idx="472">
                  <c:v>0.86462557389500005</c:v>
                </c:pt>
                <c:pt idx="473">
                  <c:v>2.59417952587</c:v>
                </c:pt>
                <c:pt idx="474">
                  <c:v>3.8917572581269999</c:v>
                </c:pt>
                <c:pt idx="475">
                  <c:v>0.43250537387900001</c:v>
                </c:pt>
                <c:pt idx="476">
                  <c:v>0.86502571288899999</c:v>
                </c:pt>
                <c:pt idx="477">
                  <c:v>1.2975385693329999</c:v>
                </c:pt>
                <c:pt idx="478">
                  <c:v>0</c:v>
                </c:pt>
                <c:pt idx="479">
                  <c:v>0.86518287803000005</c:v>
                </c:pt>
                <c:pt idx="480">
                  <c:v>0.86528019936</c:v>
                </c:pt>
                <c:pt idx="481">
                  <c:v>2.1635655560360001</c:v>
                </c:pt>
                <c:pt idx="482">
                  <c:v>0.43281049825099999</c:v>
                </c:pt>
                <c:pt idx="483">
                  <c:v>0.4328198647</c:v>
                </c:pt>
                <c:pt idx="484">
                  <c:v>0.86564347607699998</c:v>
                </c:pt>
                <c:pt idx="485">
                  <c:v>0.86571841642699998</c:v>
                </c:pt>
                <c:pt idx="486">
                  <c:v>1.2987069208090001</c:v>
                </c:pt>
                <c:pt idx="487">
                  <c:v>0.86590582408200001</c:v>
                </c:pt>
                <c:pt idx="488">
                  <c:v>1.7319841177049999</c:v>
                </c:pt>
                <c:pt idx="489">
                  <c:v>2.1649988958500002</c:v>
                </c:pt>
                <c:pt idx="490">
                  <c:v>0.86600705795699995</c:v>
                </c:pt>
                <c:pt idx="491">
                  <c:v>0.43300352897799999</c:v>
                </c:pt>
                <c:pt idx="492">
                  <c:v>0.43300540390699999</c:v>
                </c:pt>
                <c:pt idx="493">
                  <c:v>0.43305040706699999</c:v>
                </c:pt>
                <c:pt idx="494">
                  <c:v>0.433101046805</c:v>
                </c:pt>
                <c:pt idx="495">
                  <c:v>0.433146069849</c:v>
                </c:pt>
                <c:pt idx="496">
                  <c:v>0.43325116002899999</c:v>
                </c:pt>
                <c:pt idx="497">
                  <c:v>0.86650982838699997</c:v>
                </c:pt>
                <c:pt idx="498">
                  <c:v>0.433254914193</c:v>
                </c:pt>
                <c:pt idx="499">
                  <c:v>0</c:v>
                </c:pt>
                <c:pt idx="500">
                  <c:v>0.86659618351000001</c:v>
                </c:pt>
                <c:pt idx="501">
                  <c:v>0</c:v>
                </c:pt>
                <c:pt idx="502">
                  <c:v>0.43336005720300003</c:v>
                </c:pt>
                <c:pt idx="503">
                  <c:v>0.433423918932</c:v>
                </c:pt>
                <c:pt idx="504">
                  <c:v>0.43342579750299998</c:v>
                </c:pt>
                <c:pt idx="505">
                  <c:v>0</c:v>
                </c:pt>
                <c:pt idx="506">
                  <c:v>0.86688165331599998</c:v>
                </c:pt>
                <c:pt idx="508">
                  <c:v>0</c:v>
                </c:pt>
                <c:pt idx="509">
                  <c:v>0</c:v>
                </c:pt>
                <c:pt idx="510">
                  <c:v>0.43355733795700002</c:v>
                </c:pt>
                <c:pt idx="511">
                  <c:v>0.433559217685</c:v>
                </c:pt>
                <c:pt idx="512">
                  <c:v>0.86711843537099997</c:v>
                </c:pt>
                <c:pt idx="513">
                  <c:v>1.3007058497070001</c:v>
                </c:pt>
                <c:pt idx="514">
                  <c:v>0.43360057582099998</c:v>
                </c:pt>
                <c:pt idx="517">
                  <c:v>0.43369460093500001</c:v>
                </c:pt>
                <c:pt idx="518">
                  <c:v>0.43369460093500001</c:v>
                </c:pt>
                <c:pt idx="519">
                  <c:v>0</c:v>
                </c:pt>
                <c:pt idx="520">
                  <c:v>0.86739672557699998</c:v>
                </c:pt>
                <c:pt idx="521">
                  <c:v>1.3011402325570001</c:v>
                </c:pt>
                <c:pt idx="522">
                  <c:v>0</c:v>
                </c:pt>
                <c:pt idx="525">
                  <c:v>0</c:v>
                </c:pt>
                <c:pt idx="527">
                  <c:v>0.86760367863900001</c:v>
                </c:pt>
                <c:pt idx="528">
                  <c:v>0.43381313065499999</c:v>
                </c:pt>
                <c:pt idx="530">
                  <c:v>0</c:v>
                </c:pt>
                <c:pt idx="531">
                  <c:v>0</c:v>
                </c:pt>
                <c:pt idx="532">
                  <c:v>0</c:v>
                </c:pt>
                <c:pt idx="534">
                  <c:v>0.433914779137</c:v>
                </c:pt>
                <c:pt idx="535">
                  <c:v>0</c:v>
                </c:pt>
                <c:pt idx="537">
                  <c:v>0</c:v>
                </c:pt>
                <c:pt idx="538">
                  <c:v>0</c:v>
                </c:pt>
                <c:pt idx="540">
                  <c:v>0.43400894058400002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7">
                  <c:v>0</c:v>
                </c:pt>
                <c:pt idx="548">
                  <c:v>0.43411256538800003</c:v>
                </c:pt>
                <c:pt idx="550">
                  <c:v>0.86827413150800004</c:v>
                </c:pt>
                <c:pt idx="552">
                  <c:v>0</c:v>
                </c:pt>
                <c:pt idx="553">
                  <c:v>0.43418795996699999</c:v>
                </c:pt>
                <c:pt idx="554">
                  <c:v>0</c:v>
                </c:pt>
                <c:pt idx="555">
                  <c:v>0.43419738613100001</c:v>
                </c:pt>
                <c:pt idx="556">
                  <c:v>0</c:v>
                </c:pt>
                <c:pt idx="557">
                  <c:v>0.43423509488000001</c:v>
                </c:pt>
                <c:pt idx="558">
                  <c:v>0.43425395170999997</c:v>
                </c:pt>
                <c:pt idx="559">
                  <c:v>0</c:v>
                </c:pt>
                <c:pt idx="561">
                  <c:v>0.86857956840200001</c:v>
                </c:pt>
                <c:pt idx="562">
                  <c:v>0.43429544250300001</c:v>
                </c:pt>
                <c:pt idx="563">
                  <c:v>0</c:v>
                </c:pt>
                <c:pt idx="564">
                  <c:v>0.43432750900099998</c:v>
                </c:pt>
                <c:pt idx="565">
                  <c:v>0</c:v>
                </c:pt>
                <c:pt idx="566">
                  <c:v>0</c:v>
                </c:pt>
                <c:pt idx="567">
                  <c:v>0</c:v>
                </c:pt>
                <c:pt idx="568">
                  <c:v>0.43435014702699998</c:v>
                </c:pt>
                <c:pt idx="569">
                  <c:v>1.303067420708</c:v>
                </c:pt>
                <c:pt idx="570">
                  <c:v>1.303067420708</c:v>
                </c:pt>
                <c:pt idx="571">
                  <c:v>0</c:v>
                </c:pt>
                <c:pt idx="572">
                  <c:v>1.73745341453</c:v>
                </c:pt>
                <c:pt idx="573">
                  <c:v>1.3031466648129999</c:v>
                </c:pt>
                <c:pt idx="574">
                  <c:v>1.3031466648129999</c:v>
                </c:pt>
                <c:pt idx="575">
                  <c:v>3.0406755512310002</c:v>
                </c:pt>
                <c:pt idx="576">
                  <c:v>0.86880973066800005</c:v>
                </c:pt>
                <c:pt idx="577">
                  <c:v>2.1721186845639999</c:v>
                </c:pt>
                <c:pt idx="578">
                  <c:v>0.86887389598700004</c:v>
                </c:pt>
                <c:pt idx="579">
                  <c:v>0.86891919485900004</c:v>
                </c:pt>
                <c:pt idx="580">
                  <c:v>0.43447469836500002</c:v>
                </c:pt>
                <c:pt idx="581">
                  <c:v>0.43447469836500002</c:v>
                </c:pt>
                <c:pt idx="582">
                  <c:v>0.43447469836500002</c:v>
                </c:pt>
                <c:pt idx="583">
                  <c:v>1.3034467476830001</c:v>
                </c:pt>
                <c:pt idx="584">
                  <c:v>2.606916148542</c:v>
                </c:pt>
                <c:pt idx="585">
                  <c:v>0.86898715202400001</c:v>
                </c:pt>
                <c:pt idx="586">
                  <c:v>0</c:v>
                </c:pt>
                <c:pt idx="587">
                  <c:v>1.7382159820259999</c:v>
                </c:pt>
                <c:pt idx="588">
                  <c:v>0.86910799101299996</c:v>
                </c:pt>
                <c:pt idx="589">
                  <c:v>0.86910799101299996</c:v>
                </c:pt>
                <c:pt idx="590">
                  <c:v>0.86914198303400003</c:v>
                </c:pt>
                <c:pt idx="591">
                  <c:v>0.43457476858799998</c:v>
                </c:pt>
                <c:pt idx="592">
                  <c:v>0.86916464585800002</c:v>
                </c:pt>
                <c:pt idx="593">
                  <c:v>0.86920241985900004</c:v>
                </c:pt>
                <c:pt idx="594">
                  <c:v>1.7384652828480001</c:v>
                </c:pt>
                <c:pt idx="595">
                  <c:v>0.43461820963300002</c:v>
                </c:pt>
                <c:pt idx="596">
                  <c:v>0</c:v>
                </c:pt>
                <c:pt idx="597">
                  <c:v>1.7385181740340001</c:v>
                </c:pt>
                <c:pt idx="598">
                  <c:v>0.43465221303099999</c:v>
                </c:pt>
                <c:pt idx="599">
                  <c:v>1.304001982083</c:v>
                </c:pt>
                <c:pt idx="600">
                  <c:v>0</c:v>
                </c:pt>
                <c:pt idx="601">
                  <c:v>0.86943291238200004</c:v>
                </c:pt>
                <c:pt idx="602">
                  <c:v>1.304149368574</c:v>
                </c:pt>
                <c:pt idx="603">
                  <c:v>1.304149368574</c:v>
                </c:pt>
                <c:pt idx="604">
                  <c:v>1.738880943169</c:v>
                </c:pt>
                <c:pt idx="605">
                  <c:v>0.86948204954300001</c:v>
                </c:pt>
                <c:pt idx="606">
                  <c:v>0</c:v>
                </c:pt>
                <c:pt idx="607">
                  <c:v>0.43477126683599998</c:v>
                </c:pt>
                <c:pt idx="608">
                  <c:v>0.86961815067000003</c:v>
                </c:pt>
                <c:pt idx="609">
                  <c:v>0</c:v>
                </c:pt>
                <c:pt idx="610">
                  <c:v>0.43480907533500002</c:v>
                </c:pt>
                <c:pt idx="611">
                  <c:v>1.3044726017270001</c:v>
                </c:pt>
                <c:pt idx="612">
                  <c:v>0</c:v>
                </c:pt>
                <c:pt idx="613">
                  <c:v>1.3046144212070001</c:v>
                </c:pt>
                <c:pt idx="614">
                  <c:v>0.43495848321199998</c:v>
                </c:pt>
                <c:pt idx="615">
                  <c:v>1.304954913807</c:v>
                </c:pt>
                <c:pt idx="616">
                  <c:v>0.43498497126899999</c:v>
                </c:pt>
                <c:pt idx="617">
                  <c:v>0.43498497126899999</c:v>
                </c:pt>
                <c:pt idx="618">
                  <c:v>2.1749910825360002</c:v>
                </c:pt>
                <c:pt idx="619">
                  <c:v>1.3050627735189999</c:v>
                </c:pt>
                <c:pt idx="620">
                  <c:v>1.3051138711850001</c:v>
                </c:pt>
                <c:pt idx="621">
                  <c:v>1.305159294691</c:v>
                </c:pt>
                <c:pt idx="622">
                  <c:v>0</c:v>
                </c:pt>
                <c:pt idx="623">
                  <c:v>0.87018948376000005</c:v>
                </c:pt>
                <c:pt idx="624">
                  <c:v>0.87018948376000005</c:v>
                </c:pt>
                <c:pt idx="625">
                  <c:v>0</c:v>
                </c:pt>
                <c:pt idx="626">
                  <c:v>0.870265213323</c:v>
                </c:pt>
                <c:pt idx="627">
                  <c:v>0.87032959381700004</c:v>
                </c:pt>
                <c:pt idx="628">
                  <c:v>0.87039398383599997</c:v>
                </c:pt>
                <c:pt idx="629">
                  <c:v>1.305681892368</c:v>
                </c:pt>
                <c:pt idx="630">
                  <c:v>0</c:v>
                </c:pt>
                <c:pt idx="631">
                  <c:v>0.87045459491199995</c:v>
                </c:pt>
                <c:pt idx="632">
                  <c:v>1.3057387216809999</c:v>
                </c:pt>
                <c:pt idx="633">
                  <c:v>0.43527655295700002</c:v>
                </c:pt>
                <c:pt idx="634">
                  <c:v>0.43530307976900001</c:v>
                </c:pt>
                <c:pt idx="635">
                  <c:v>0</c:v>
                </c:pt>
                <c:pt idx="636">
                  <c:v>2.176780715464</c:v>
                </c:pt>
                <c:pt idx="637">
                  <c:v>1.741424572371</c:v>
                </c:pt>
                <c:pt idx="638">
                  <c:v>1.306068429278</c:v>
                </c:pt>
                <c:pt idx="639">
                  <c:v>1.3061309788140001</c:v>
                </c:pt>
                <c:pt idx="640">
                  <c:v>1.3062219706530001</c:v>
                </c:pt>
                <c:pt idx="641">
                  <c:v>1.7417961401790001</c:v>
                </c:pt>
                <c:pt idx="642">
                  <c:v>0.87095495856399996</c:v>
                </c:pt>
                <c:pt idx="643">
                  <c:v>2.177520152949</c:v>
                </c:pt>
                <c:pt idx="644">
                  <c:v>2.177520152949</c:v>
                </c:pt>
                <c:pt idx="645">
                  <c:v>1.3065120917690001</c:v>
                </c:pt>
                <c:pt idx="646">
                  <c:v>0</c:v>
                </c:pt>
                <c:pt idx="647">
                  <c:v>3.0488468825539998</c:v>
                </c:pt>
                <c:pt idx="648">
                  <c:v>1.742304458992</c:v>
                </c:pt>
                <c:pt idx="649">
                  <c:v>1.7424031223859999</c:v>
                </c:pt>
                <c:pt idx="650">
                  <c:v>1.742494206206</c:v>
                </c:pt>
                <c:pt idx="651">
                  <c:v>0.87125089847699999</c:v>
                </c:pt>
                <c:pt idx="652">
                  <c:v>1.3068763477159999</c:v>
                </c:pt>
                <c:pt idx="653">
                  <c:v>0.87126987584399995</c:v>
                </c:pt>
                <c:pt idx="654">
                  <c:v>1.306973137345</c:v>
                </c:pt>
                <c:pt idx="655">
                  <c:v>2.61394627469</c:v>
                </c:pt>
                <c:pt idx="656">
                  <c:v>1.307081330957</c:v>
                </c:pt>
                <c:pt idx="657">
                  <c:v>1.3071439775510001</c:v>
                </c:pt>
                <c:pt idx="658">
                  <c:v>1.3071439775510001</c:v>
                </c:pt>
                <c:pt idx="659">
                  <c:v>0</c:v>
                </c:pt>
                <c:pt idx="660">
                  <c:v>3.050215258048</c:v>
                </c:pt>
                <c:pt idx="661">
                  <c:v>4.3576972184810003</c:v>
                </c:pt>
                <c:pt idx="662">
                  <c:v>0.87161160986599995</c:v>
                </c:pt>
                <c:pt idx="663">
                  <c:v>1.7434131671269999</c:v>
                </c:pt>
                <c:pt idx="664">
                  <c:v>1.3076054692770001</c:v>
                </c:pt>
                <c:pt idx="665">
                  <c:v>0</c:v>
                </c:pt>
                <c:pt idx="666">
                  <c:v>0.87174077916100001</c:v>
                </c:pt>
                <c:pt idx="667">
                  <c:v>0.87179017753999999</c:v>
                </c:pt>
                <c:pt idx="668">
                  <c:v>0.87184718262500005</c:v>
                </c:pt>
                <c:pt idx="669">
                  <c:v>0.87191559857000001</c:v>
                </c:pt>
                <c:pt idx="670">
                  <c:v>0.43597680603299999</c:v>
                </c:pt>
                <c:pt idx="671">
                  <c:v>1.3080045518550001</c:v>
                </c:pt>
                <c:pt idx="672">
                  <c:v>0.43600151728499997</c:v>
                </c:pt>
                <c:pt idx="673">
                  <c:v>0</c:v>
                </c:pt>
                <c:pt idx="674">
                  <c:v>1.308044473512</c:v>
                </c:pt>
                <c:pt idx="675">
                  <c:v>2.1801881938440002</c:v>
                </c:pt>
                <c:pt idx="676">
                  <c:v>1.744264639831</c:v>
                </c:pt>
                <c:pt idx="677">
                  <c:v>0.87217415573500001</c:v>
                </c:pt>
                <c:pt idx="678">
                  <c:v>0.87221219178200005</c:v>
                </c:pt>
                <c:pt idx="679">
                  <c:v>0</c:v>
                </c:pt>
                <c:pt idx="680">
                  <c:v>0.43610609589100002</c:v>
                </c:pt>
                <c:pt idx="681">
                  <c:v>0.87224642706</c:v>
                </c:pt>
                <c:pt idx="682">
                  <c:v>2.1807301956980001</c:v>
                </c:pt>
                <c:pt idx="683">
                  <c:v>0.436165062306</c:v>
                </c:pt>
                <c:pt idx="684">
                  <c:v>0</c:v>
                </c:pt>
                <c:pt idx="685">
                  <c:v>1.3085808005020001</c:v>
                </c:pt>
                <c:pt idx="686">
                  <c:v>1.744774400669</c:v>
                </c:pt>
                <c:pt idx="687">
                  <c:v>0</c:v>
                </c:pt>
                <c:pt idx="688">
                  <c:v>0.436224044669</c:v>
                </c:pt>
                <c:pt idx="689">
                  <c:v>0.87246331291699997</c:v>
                </c:pt>
                <c:pt idx="690">
                  <c:v>1.3087806091059999</c:v>
                </c:pt>
                <c:pt idx="691">
                  <c:v>0.43627733277399999</c:v>
                </c:pt>
                <c:pt idx="692">
                  <c:v>0.43630969261899999</c:v>
                </c:pt>
                <c:pt idx="693">
                  <c:v>0</c:v>
                </c:pt>
                <c:pt idx="694">
                  <c:v>0</c:v>
                </c:pt>
                <c:pt idx="695">
                  <c:v>2.1816531695050001</c:v>
                </c:pt>
                <c:pt idx="696">
                  <c:v>1.309071868045</c:v>
                </c:pt>
                <c:pt idx="697">
                  <c:v>0.43638204375099998</c:v>
                </c:pt>
                <c:pt idx="698">
                  <c:v>0.43640299197799998</c:v>
                </c:pt>
                <c:pt idx="699">
                  <c:v>0.87284026586700003</c:v>
                </c:pt>
                <c:pt idx="700">
                  <c:v>1.309271826652</c:v>
                </c:pt>
                <c:pt idx="701">
                  <c:v>0.43642394221699998</c:v>
                </c:pt>
                <c:pt idx="702">
                  <c:v>0.43644489446700002</c:v>
                </c:pt>
                <c:pt idx="703">
                  <c:v>1.7459014962370001</c:v>
                </c:pt>
                <c:pt idx="704">
                  <c:v>0</c:v>
                </c:pt>
                <c:pt idx="705">
                  <c:v>2.1824911827350002</c:v>
                </c:pt>
                <c:pt idx="706">
                  <c:v>1.3095232898710001</c:v>
                </c:pt>
                <c:pt idx="707">
                  <c:v>1.3095232898710001</c:v>
                </c:pt>
                <c:pt idx="708">
                  <c:v>1.3095232898710001</c:v>
                </c:pt>
                <c:pt idx="709">
                  <c:v>1.74608440572</c:v>
                </c:pt>
                <c:pt idx="710">
                  <c:v>0.43653444038400002</c:v>
                </c:pt>
                <c:pt idx="711">
                  <c:v>0.87310318333400005</c:v>
                </c:pt>
                <c:pt idx="712">
                  <c:v>0</c:v>
                </c:pt>
                <c:pt idx="713">
                  <c:v>0.87317942090699996</c:v>
                </c:pt>
                <c:pt idx="714">
                  <c:v>0.87317942090699996</c:v>
                </c:pt>
                <c:pt idx="715">
                  <c:v>0.43658971045299999</c:v>
                </c:pt>
                <c:pt idx="716">
                  <c:v>0.436593522698</c:v>
                </c:pt>
                <c:pt idx="717">
                  <c:v>0.43659924118999999</c:v>
                </c:pt>
                <c:pt idx="718">
                  <c:v>0.43660686607900001</c:v>
                </c:pt>
                <c:pt idx="719">
                  <c:v>0.87322898246900005</c:v>
                </c:pt>
                <c:pt idx="720">
                  <c:v>0.87326329761599997</c:v>
                </c:pt>
                <c:pt idx="721">
                  <c:v>0</c:v>
                </c:pt>
                <c:pt idx="722">
                  <c:v>0.43663164880799998</c:v>
                </c:pt>
                <c:pt idx="723">
                  <c:v>1.309900665866</c:v>
                </c:pt>
                <c:pt idx="724">
                  <c:v>1.309906385356</c:v>
                </c:pt>
                <c:pt idx="725">
                  <c:v>1.3099693030520001</c:v>
                </c:pt>
                <c:pt idx="726">
                  <c:v>1.3099979040030001</c:v>
                </c:pt>
                <c:pt idx="727">
                  <c:v>0</c:v>
                </c:pt>
                <c:pt idx="728">
                  <c:v>0.436667874781</c:v>
                </c:pt>
                <c:pt idx="729">
                  <c:v>0</c:v>
                </c:pt>
                <c:pt idx="730">
                  <c:v>1.3100379474320001</c:v>
                </c:pt>
                <c:pt idx="731">
                  <c:v>1.3100779933090001</c:v>
                </c:pt>
                <c:pt idx="732">
                  <c:v>0</c:v>
                </c:pt>
                <c:pt idx="733">
                  <c:v>0.87342347063500003</c:v>
                </c:pt>
                <c:pt idx="734">
                  <c:v>0.43672508592499998</c:v>
                </c:pt>
                <c:pt idx="735">
                  <c:v>0</c:v>
                </c:pt>
                <c:pt idx="736">
                  <c:v>0</c:v>
                </c:pt>
                <c:pt idx="737">
                  <c:v>1.3101809796649999</c:v>
                </c:pt>
                <c:pt idx="738">
                  <c:v>0.43673271521000001</c:v>
                </c:pt>
                <c:pt idx="739">
                  <c:v>0</c:v>
                </c:pt>
                <c:pt idx="740">
                  <c:v>0.43673843734899997</c:v>
                </c:pt>
                <c:pt idx="741">
                  <c:v>0.87348068952500002</c:v>
                </c:pt>
                <c:pt idx="742">
                  <c:v>0</c:v>
                </c:pt>
                <c:pt idx="743">
                  <c:v>1.3102210342880001</c:v>
                </c:pt>
                <c:pt idx="744">
                  <c:v>0.87348068952500002</c:v>
                </c:pt>
                <c:pt idx="745">
                  <c:v>1.3102210342880001</c:v>
                </c:pt>
                <c:pt idx="746">
                  <c:v>0</c:v>
                </c:pt>
                <c:pt idx="747">
                  <c:v>0</c:v>
                </c:pt>
                <c:pt idx="748">
                  <c:v>0.87348450438400005</c:v>
                </c:pt>
                <c:pt idx="749">
                  <c:v>0.87348450438400005</c:v>
                </c:pt>
                <c:pt idx="750">
                  <c:v>0.43674225219200002</c:v>
                </c:pt>
                <c:pt idx="751">
                  <c:v>0.43674225219200002</c:v>
                </c:pt>
                <c:pt idx="752">
                  <c:v>0.87348831927699999</c:v>
                </c:pt>
                <c:pt idx="753">
                  <c:v>0.87349213420299998</c:v>
                </c:pt>
                <c:pt idx="754">
                  <c:v>0.436749882077</c:v>
                </c:pt>
                <c:pt idx="755">
                  <c:v>0</c:v>
                </c:pt>
                <c:pt idx="756">
                  <c:v>0.436757512229</c:v>
                </c:pt>
                <c:pt idx="757">
                  <c:v>0.436757512229</c:v>
                </c:pt>
                <c:pt idx="758">
                  <c:v>0.43675941980799998</c:v>
                </c:pt>
                <c:pt idx="759">
                  <c:v>0.43676132740500001</c:v>
                </c:pt>
                <c:pt idx="760">
                  <c:v>0</c:v>
                </c:pt>
                <c:pt idx="761">
                  <c:v>0.87353791591300001</c:v>
                </c:pt>
                <c:pt idx="762">
                  <c:v>0.436774681045</c:v>
                </c:pt>
                <c:pt idx="764">
                  <c:v>0</c:v>
                </c:pt>
                <c:pt idx="765">
                  <c:v>0</c:v>
                </c:pt>
                <c:pt idx="766">
                  <c:v>0.436799482829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.87362567760499998</c:v>
                </c:pt>
                <c:pt idx="771">
                  <c:v>0</c:v>
                </c:pt>
                <c:pt idx="772">
                  <c:v>0.87364094230900002</c:v>
                </c:pt>
                <c:pt idx="773">
                  <c:v>0</c:v>
                </c:pt>
                <c:pt idx="774">
                  <c:v>0</c:v>
                </c:pt>
                <c:pt idx="775">
                  <c:v>0.87367147331499995</c:v>
                </c:pt>
                <c:pt idx="776">
                  <c:v>0</c:v>
                </c:pt>
                <c:pt idx="777">
                  <c:v>0</c:v>
                </c:pt>
                <c:pt idx="778">
                  <c:v>0.43683955320000001</c:v>
                </c:pt>
                <c:pt idx="779">
                  <c:v>0</c:v>
                </c:pt>
                <c:pt idx="780">
                  <c:v>0.43684718648499998</c:v>
                </c:pt>
                <c:pt idx="781">
                  <c:v>0.87369437297100006</c:v>
                </c:pt>
                <c:pt idx="782">
                  <c:v>0</c:v>
                </c:pt>
                <c:pt idx="783">
                  <c:v>0.87370964007499996</c:v>
                </c:pt>
                <c:pt idx="784">
                  <c:v>0</c:v>
                </c:pt>
                <c:pt idx="785">
                  <c:v>0</c:v>
                </c:pt>
                <c:pt idx="786">
                  <c:v>0.43685672846700002</c:v>
                </c:pt>
                <c:pt idx="787">
                  <c:v>0.43685863691299998</c:v>
                </c:pt>
                <c:pt idx="788">
                  <c:v>0</c:v>
                </c:pt>
                <c:pt idx="789">
                  <c:v>0.436868179395</c:v>
                </c:pt>
                <c:pt idx="790">
                  <c:v>1.747472717582</c:v>
                </c:pt>
                <c:pt idx="791">
                  <c:v>0</c:v>
                </c:pt>
                <c:pt idx="792">
                  <c:v>0.436870087941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F0-41A2-ADBC-1FC75FE6D1E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končené očkování - bez posilující dávky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trendline>
            <c:spPr>
              <a:ln w="28575" cap="rnd">
                <a:solidFill>
                  <a:schemeClr val="accent1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794</c:f>
              <c:numCache>
                <c:formatCode>m/d/yyyy</c:formatCode>
                <c:ptCount val="793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  <c:pt idx="468">
                  <c:v>44659</c:v>
                </c:pt>
                <c:pt idx="469">
                  <c:v>44660</c:v>
                </c:pt>
                <c:pt idx="470">
                  <c:v>44661</c:v>
                </c:pt>
                <c:pt idx="471">
                  <c:v>44662</c:v>
                </c:pt>
                <c:pt idx="472">
                  <c:v>44663</c:v>
                </c:pt>
                <c:pt idx="473">
                  <c:v>44664</c:v>
                </c:pt>
                <c:pt idx="474">
                  <c:v>44665</c:v>
                </c:pt>
                <c:pt idx="475">
                  <c:v>44666</c:v>
                </c:pt>
                <c:pt idx="476">
                  <c:v>44667</c:v>
                </c:pt>
                <c:pt idx="477">
                  <c:v>44668</c:v>
                </c:pt>
                <c:pt idx="478">
                  <c:v>44669</c:v>
                </c:pt>
                <c:pt idx="479">
                  <c:v>44670</c:v>
                </c:pt>
                <c:pt idx="480">
                  <c:v>44671</c:v>
                </c:pt>
                <c:pt idx="481">
                  <c:v>44672</c:v>
                </c:pt>
                <c:pt idx="482">
                  <c:v>44673</c:v>
                </c:pt>
                <c:pt idx="483">
                  <c:v>44674</c:v>
                </c:pt>
                <c:pt idx="484">
                  <c:v>44675</c:v>
                </c:pt>
                <c:pt idx="485">
                  <c:v>44676</c:v>
                </c:pt>
                <c:pt idx="486">
                  <c:v>44677</c:v>
                </c:pt>
                <c:pt idx="487">
                  <c:v>44678</c:v>
                </c:pt>
                <c:pt idx="488">
                  <c:v>44679</c:v>
                </c:pt>
                <c:pt idx="489">
                  <c:v>44680</c:v>
                </c:pt>
                <c:pt idx="490">
                  <c:v>44681</c:v>
                </c:pt>
                <c:pt idx="491">
                  <c:v>44682</c:v>
                </c:pt>
                <c:pt idx="492">
                  <c:v>44683</c:v>
                </c:pt>
                <c:pt idx="493">
                  <c:v>44684</c:v>
                </c:pt>
                <c:pt idx="494">
                  <c:v>44685</c:v>
                </c:pt>
                <c:pt idx="495">
                  <c:v>44686</c:v>
                </c:pt>
                <c:pt idx="496">
                  <c:v>44687</c:v>
                </c:pt>
                <c:pt idx="497">
                  <c:v>44688</c:v>
                </c:pt>
                <c:pt idx="498">
                  <c:v>44689</c:v>
                </c:pt>
                <c:pt idx="499">
                  <c:v>44690</c:v>
                </c:pt>
                <c:pt idx="500">
                  <c:v>44691</c:v>
                </c:pt>
                <c:pt idx="501">
                  <c:v>44692</c:v>
                </c:pt>
                <c:pt idx="502">
                  <c:v>44693</c:v>
                </c:pt>
                <c:pt idx="503">
                  <c:v>44694</c:v>
                </c:pt>
                <c:pt idx="504">
                  <c:v>44695</c:v>
                </c:pt>
                <c:pt idx="505">
                  <c:v>44696</c:v>
                </c:pt>
                <c:pt idx="506">
                  <c:v>44697</c:v>
                </c:pt>
                <c:pt idx="507">
                  <c:v>44698</c:v>
                </c:pt>
                <c:pt idx="508">
                  <c:v>44699</c:v>
                </c:pt>
                <c:pt idx="509">
                  <c:v>44700</c:v>
                </c:pt>
                <c:pt idx="510">
                  <c:v>44701</c:v>
                </c:pt>
                <c:pt idx="511">
                  <c:v>44702</c:v>
                </c:pt>
                <c:pt idx="512">
                  <c:v>44703</c:v>
                </c:pt>
                <c:pt idx="513">
                  <c:v>44704</c:v>
                </c:pt>
                <c:pt idx="514">
                  <c:v>44705</c:v>
                </c:pt>
                <c:pt idx="515">
                  <c:v>44706</c:v>
                </c:pt>
                <c:pt idx="516">
                  <c:v>44707</c:v>
                </c:pt>
                <c:pt idx="517">
                  <c:v>44708</c:v>
                </c:pt>
                <c:pt idx="518">
                  <c:v>44709</c:v>
                </c:pt>
                <c:pt idx="519">
                  <c:v>44710</c:v>
                </c:pt>
                <c:pt idx="520">
                  <c:v>44711</c:v>
                </c:pt>
                <c:pt idx="521">
                  <c:v>44712</c:v>
                </c:pt>
                <c:pt idx="522">
                  <c:v>44713</c:v>
                </c:pt>
                <c:pt idx="523">
                  <c:v>44714</c:v>
                </c:pt>
                <c:pt idx="524">
                  <c:v>44715</c:v>
                </c:pt>
                <c:pt idx="525">
                  <c:v>44716</c:v>
                </c:pt>
                <c:pt idx="526">
                  <c:v>44717</c:v>
                </c:pt>
                <c:pt idx="527">
                  <c:v>44718</c:v>
                </c:pt>
                <c:pt idx="528">
                  <c:v>44719</c:v>
                </c:pt>
                <c:pt idx="529">
                  <c:v>44720</c:v>
                </c:pt>
                <c:pt idx="530">
                  <c:v>44721</c:v>
                </c:pt>
                <c:pt idx="531">
                  <c:v>44722</c:v>
                </c:pt>
                <c:pt idx="532">
                  <c:v>44723</c:v>
                </c:pt>
                <c:pt idx="533">
                  <c:v>44724</c:v>
                </c:pt>
                <c:pt idx="534">
                  <c:v>44725</c:v>
                </c:pt>
                <c:pt idx="535">
                  <c:v>44726</c:v>
                </c:pt>
                <c:pt idx="536">
                  <c:v>44727</c:v>
                </c:pt>
                <c:pt idx="537">
                  <c:v>44728</c:v>
                </c:pt>
                <c:pt idx="538">
                  <c:v>44729</c:v>
                </c:pt>
                <c:pt idx="539">
                  <c:v>44730</c:v>
                </c:pt>
                <c:pt idx="540">
                  <c:v>44731</c:v>
                </c:pt>
                <c:pt idx="541">
                  <c:v>44732</c:v>
                </c:pt>
                <c:pt idx="542">
                  <c:v>44733</c:v>
                </c:pt>
                <c:pt idx="543">
                  <c:v>44734</c:v>
                </c:pt>
                <c:pt idx="544">
                  <c:v>44735</c:v>
                </c:pt>
                <c:pt idx="545">
                  <c:v>44736</c:v>
                </c:pt>
                <c:pt idx="546">
                  <c:v>44737</c:v>
                </c:pt>
                <c:pt idx="547">
                  <c:v>44738</c:v>
                </c:pt>
                <c:pt idx="548">
                  <c:v>44739</c:v>
                </c:pt>
                <c:pt idx="549">
                  <c:v>44740</c:v>
                </c:pt>
                <c:pt idx="550">
                  <c:v>44741</c:v>
                </c:pt>
                <c:pt idx="551">
                  <c:v>44742</c:v>
                </c:pt>
                <c:pt idx="552">
                  <c:v>44743</c:v>
                </c:pt>
                <c:pt idx="553">
                  <c:v>44744</c:v>
                </c:pt>
                <c:pt idx="554">
                  <c:v>44745</c:v>
                </c:pt>
                <c:pt idx="555">
                  <c:v>44746</c:v>
                </c:pt>
                <c:pt idx="556">
                  <c:v>44747</c:v>
                </c:pt>
                <c:pt idx="557">
                  <c:v>44748</c:v>
                </c:pt>
                <c:pt idx="558">
                  <c:v>44749</c:v>
                </c:pt>
                <c:pt idx="559">
                  <c:v>44750</c:v>
                </c:pt>
                <c:pt idx="560">
                  <c:v>44751</c:v>
                </c:pt>
                <c:pt idx="561">
                  <c:v>44752</c:v>
                </c:pt>
                <c:pt idx="562">
                  <c:v>44753</c:v>
                </c:pt>
                <c:pt idx="563">
                  <c:v>44754</c:v>
                </c:pt>
                <c:pt idx="564">
                  <c:v>44755</c:v>
                </c:pt>
                <c:pt idx="565">
                  <c:v>44756</c:v>
                </c:pt>
                <c:pt idx="566">
                  <c:v>44757</c:v>
                </c:pt>
                <c:pt idx="567">
                  <c:v>44758</c:v>
                </c:pt>
                <c:pt idx="568">
                  <c:v>44759</c:v>
                </c:pt>
                <c:pt idx="569">
                  <c:v>44760</c:v>
                </c:pt>
                <c:pt idx="570">
                  <c:v>44761</c:v>
                </c:pt>
                <c:pt idx="571">
                  <c:v>44762</c:v>
                </c:pt>
                <c:pt idx="572">
                  <c:v>44763</c:v>
                </c:pt>
                <c:pt idx="573">
                  <c:v>44764</c:v>
                </c:pt>
                <c:pt idx="574">
                  <c:v>44765</c:v>
                </c:pt>
                <c:pt idx="575">
                  <c:v>44766</c:v>
                </c:pt>
                <c:pt idx="576">
                  <c:v>44767</c:v>
                </c:pt>
                <c:pt idx="577">
                  <c:v>44768</c:v>
                </c:pt>
                <c:pt idx="578">
                  <c:v>44769</c:v>
                </c:pt>
                <c:pt idx="579">
                  <c:v>44770</c:v>
                </c:pt>
                <c:pt idx="580">
                  <c:v>44771</c:v>
                </c:pt>
                <c:pt idx="581">
                  <c:v>44772</c:v>
                </c:pt>
                <c:pt idx="582">
                  <c:v>44773</c:v>
                </c:pt>
                <c:pt idx="583">
                  <c:v>44774</c:v>
                </c:pt>
                <c:pt idx="584">
                  <c:v>44775</c:v>
                </c:pt>
                <c:pt idx="585">
                  <c:v>44776</c:v>
                </c:pt>
                <c:pt idx="586">
                  <c:v>44777</c:v>
                </c:pt>
                <c:pt idx="587">
                  <c:v>44778</c:v>
                </c:pt>
                <c:pt idx="588">
                  <c:v>44779</c:v>
                </c:pt>
                <c:pt idx="589">
                  <c:v>44780</c:v>
                </c:pt>
                <c:pt idx="590">
                  <c:v>44781</c:v>
                </c:pt>
                <c:pt idx="591">
                  <c:v>44782</c:v>
                </c:pt>
                <c:pt idx="592">
                  <c:v>44783</c:v>
                </c:pt>
                <c:pt idx="593">
                  <c:v>44784</c:v>
                </c:pt>
                <c:pt idx="594">
                  <c:v>44785</c:v>
                </c:pt>
                <c:pt idx="595">
                  <c:v>44786</c:v>
                </c:pt>
                <c:pt idx="596">
                  <c:v>44787</c:v>
                </c:pt>
                <c:pt idx="597">
                  <c:v>44788</c:v>
                </c:pt>
                <c:pt idx="598">
                  <c:v>44789</c:v>
                </c:pt>
                <c:pt idx="599">
                  <c:v>44790</c:v>
                </c:pt>
                <c:pt idx="600">
                  <c:v>44791</c:v>
                </c:pt>
                <c:pt idx="601">
                  <c:v>44792</c:v>
                </c:pt>
                <c:pt idx="602">
                  <c:v>44793</c:v>
                </c:pt>
                <c:pt idx="603">
                  <c:v>44794</c:v>
                </c:pt>
                <c:pt idx="604">
                  <c:v>44795</c:v>
                </c:pt>
                <c:pt idx="605">
                  <c:v>44796</c:v>
                </c:pt>
                <c:pt idx="606">
                  <c:v>44797</c:v>
                </c:pt>
                <c:pt idx="607">
                  <c:v>44798</c:v>
                </c:pt>
                <c:pt idx="608">
                  <c:v>44799</c:v>
                </c:pt>
                <c:pt idx="609">
                  <c:v>44800</c:v>
                </c:pt>
                <c:pt idx="610">
                  <c:v>44801</c:v>
                </c:pt>
                <c:pt idx="611">
                  <c:v>44802</c:v>
                </c:pt>
                <c:pt idx="612">
                  <c:v>44803</c:v>
                </c:pt>
                <c:pt idx="613">
                  <c:v>44804</c:v>
                </c:pt>
                <c:pt idx="614">
                  <c:v>44805</c:v>
                </c:pt>
                <c:pt idx="615">
                  <c:v>44806</c:v>
                </c:pt>
                <c:pt idx="616">
                  <c:v>44807</c:v>
                </c:pt>
                <c:pt idx="617">
                  <c:v>44808</c:v>
                </c:pt>
                <c:pt idx="618">
                  <c:v>44809</c:v>
                </c:pt>
                <c:pt idx="619">
                  <c:v>44810</c:v>
                </c:pt>
                <c:pt idx="620">
                  <c:v>44811</c:v>
                </c:pt>
                <c:pt idx="621">
                  <c:v>44812</c:v>
                </c:pt>
                <c:pt idx="622">
                  <c:v>44813</c:v>
                </c:pt>
                <c:pt idx="623">
                  <c:v>44814</c:v>
                </c:pt>
                <c:pt idx="624">
                  <c:v>44815</c:v>
                </c:pt>
                <c:pt idx="625">
                  <c:v>44816</c:v>
                </c:pt>
                <c:pt idx="626">
                  <c:v>44817</c:v>
                </c:pt>
                <c:pt idx="627">
                  <c:v>44818</c:v>
                </c:pt>
                <c:pt idx="628">
                  <c:v>44819</c:v>
                </c:pt>
                <c:pt idx="629">
                  <c:v>44820</c:v>
                </c:pt>
                <c:pt idx="630">
                  <c:v>44821</c:v>
                </c:pt>
                <c:pt idx="631">
                  <c:v>44822</c:v>
                </c:pt>
                <c:pt idx="632">
                  <c:v>44823</c:v>
                </c:pt>
                <c:pt idx="633">
                  <c:v>44824</c:v>
                </c:pt>
                <c:pt idx="634">
                  <c:v>44825</c:v>
                </c:pt>
                <c:pt idx="635">
                  <c:v>44826</c:v>
                </c:pt>
                <c:pt idx="636">
                  <c:v>44827</c:v>
                </c:pt>
                <c:pt idx="637">
                  <c:v>44828</c:v>
                </c:pt>
                <c:pt idx="638">
                  <c:v>44829</c:v>
                </c:pt>
                <c:pt idx="639">
                  <c:v>44830</c:v>
                </c:pt>
                <c:pt idx="640">
                  <c:v>44831</c:v>
                </c:pt>
                <c:pt idx="641">
                  <c:v>44832</c:v>
                </c:pt>
                <c:pt idx="642">
                  <c:v>44833</c:v>
                </c:pt>
                <c:pt idx="643">
                  <c:v>44834</c:v>
                </c:pt>
                <c:pt idx="644">
                  <c:v>44835</c:v>
                </c:pt>
                <c:pt idx="645">
                  <c:v>44836</c:v>
                </c:pt>
                <c:pt idx="646">
                  <c:v>44837</c:v>
                </c:pt>
                <c:pt idx="647">
                  <c:v>44838</c:v>
                </c:pt>
                <c:pt idx="648">
                  <c:v>44839</c:v>
                </c:pt>
                <c:pt idx="649">
                  <c:v>44840</c:v>
                </c:pt>
                <c:pt idx="650">
                  <c:v>44841</c:v>
                </c:pt>
                <c:pt idx="651">
                  <c:v>44842</c:v>
                </c:pt>
                <c:pt idx="652">
                  <c:v>44843</c:v>
                </c:pt>
                <c:pt idx="653">
                  <c:v>44844</c:v>
                </c:pt>
                <c:pt idx="654">
                  <c:v>44845</c:v>
                </c:pt>
                <c:pt idx="655">
                  <c:v>44846</c:v>
                </c:pt>
                <c:pt idx="656">
                  <c:v>44847</c:v>
                </c:pt>
                <c:pt idx="657">
                  <c:v>44848</c:v>
                </c:pt>
                <c:pt idx="658">
                  <c:v>44849</c:v>
                </c:pt>
                <c:pt idx="659">
                  <c:v>44850</c:v>
                </c:pt>
                <c:pt idx="660">
                  <c:v>44851</c:v>
                </c:pt>
                <c:pt idx="661">
                  <c:v>44852</c:v>
                </c:pt>
                <c:pt idx="662">
                  <c:v>44853</c:v>
                </c:pt>
                <c:pt idx="663">
                  <c:v>44854</c:v>
                </c:pt>
                <c:pt idx="664">
                  <c:v>44855</c:v>
                </c:pt>
                <c:pt idx="665">
                  <c:v>44856</c:v>
                </c:pt>
                <c:pt idx="666">
                  <c:v>44857</c:v>
                </c:pt>
                <c:pt idx="667">
                  <c:v>44858</c:v>
                </c:pt>
                <c:pt idx="668">
                  <c:v>44859</c:v>
                </c:pt>
                <c:pt idx="669">
                  <c:v>44860</c:v>
                </c:pt>
                <c:pt idx="670">
                  <c:v>44861</c:v>
                </c:pt>
                <c:pt idx="671">
                  <c:v>44862</c:v>
                </c:pt>
                <c:pt idx="672">
                  <c:v>44863</c:v>
                </c:pt>
                <c:pt idx="673">
                  <c:v>44864</c:v>
                </c:pt>
                <c:pt idx="674">
                  <c:v>44865</c:v>
                </c:pt>
                <c:pt idx="675">
                  <c:v>44866</c:v>
                </c:pt>
                <c:pt idx="676">
                  <c:v>44867</c:v>
                </c:pt>
                <c:pt idx="677">
                  <c:v>44868</c:v>
                </c:pt>
                <c:pt idx="678">
                  <c:v>44869</c:v>
                </c:pt>
                <c:pt idx="679">
                  <c:v>44870</c:v>
                </c:pt>
                <c:pt idx="680">
                  <c:v>44871</c:v>
                </c:pt>
                <c:pt idx="681">
                  <c:v>44872</c:v>
                </c:pt>
                <c:pt idx="682">
                  <c:v>44873</c:v>
                </c:pt>
                <c:pt idx="683">
                  <c:v>44874</c:v>
                </c:pt>
                <c:pt idx="684">
                  <c:v>44875</c:v>
                </c:pt>
                <c:pt idx="685">
                  <c:v>44876</c:v>
                </c:pt>
                <c:pt idx="686">
                  <c:v>44877</c:v>
                </c:pt>
                <c:pt idx="687">
                  <c:v>44878</c:v>
                </c:pt>
                <c:pt idx="688">
                  <c:v>44879</c:v>
                </c:pt>
                <c:pt idx="689">
                  <c:v>44880</c:v>
                </c:pt>
                <c:pt idx="690">
                  <c:v>44881</c:v>
                </c:pt>
                <c:pt idx="691">
                  <c:v>44882</c:v>
                </c:pt>
                <c:pt idx="692">
                  <c:v>44883</c:v>
                </c:pt>
                <c:pt idx="693">
                  <c:v>44884</c:v>
                </c:pt>
                <c:pt idx="694">
                  <c:v>44885</c:v>
                </c:pt>
                <c:pt idx="695">
                  <c:v>44886</c:v>
                </c:pt>
                <c:pt idx="696">
                  <c:v>44887</c:v>
                </c:pt>
                <c:pt idx="697">
                  <c:v>44888</c:v>
                </c:pt>
                <c:pt idx="698">
                  <c:v>44889</c:v>
                </c:pt>
                <c:pt idx="699">
                  <c:v>44890</c:v>
                </c:pt>
                <c:pt idx="700">
                  <c:v>44891</c:v>
                </c:pt>
                <c:pt idx="701">
                  <c:v>44892</c:v>
                </c:pt>
                <c:pt idx="702">
                  <c:v>44893</c:v>
                </c:pt>
                <c:pt idx="703">
                  <c:v>44894</c:v>
                </c:pt>
                <c:pt idx="704">
                  <c:v>44895</c:v>
                </c:pt>
                <c:pt idx="705">
                  <c:v>44896</c:v>
                </c:pt>
                <c:pt idx="706">
                  <c:v>44897</c:v>
                </c:pt>
                <c:pt idx="707">
                  <c:v>44898</c:v>
                </c:pt>
                <c:pt idx="708">
                  <c:v>44899</c:v>
                </c:pt>
                <c:pt idx="709">
                  <c:v>44900</c:v>
                </c:pt>
                <c:pt idx="710">
                  <c:v>44901</c:v>
                </c:pt>
                <c:pt idx="711">
                  <c:v>44902</c:v>
                </c:pt>
                <c:pt idx="712">
                  <c:v>44903</c:v>
                </c:pt>
                <c:pt idx="713">
                  <c:v>44904</c:v>
                </c:pt>
                <c:pt idx="714">
                  <c:v>44905</c:v>
                </c:pt>
                <c:pt idx="715">
                  <c:v>44906</c:v>
                </c:pt>
                <c:pt idx="716">
                  <c:v>44907</c:v>
                </c:pt>
                <c:pt idx="717">
                  <c:v>44908</c:v>
                </c:pt>
                <c:pt idx="718">
                  <c:v>44909</c:v>
                </c:pt>
                <c:pt idx="719">
                  <c:v>44910</c:v>
                </c:pt>
                <c:pt idx="720">
                  <c:v>44911</c:v>
                </c:pt>
                <c:pt idx="721">
                  <c:v>44912</c:v>
                </c:pt>
                <c:pt idx="722">
                  <c:v>44913</c:v>
                </c:pt>
                <c:pt idx="723">
                  <c:v>44914</c:v>
                </c:pt>
                <c:pt idx="724">
                  <c:v>44915</c:v>
                </c:pt>
                <c:pt idx="725">
                  <c:v>44916</c:v>
                </c:pt>
                <c:pt idx="726">
                  <c:v>44917</c:v>
                </c:pt>
                <c:pt idx="727">
                  <c:v>44918</c:v>
                </c:pt>
                <c:pt idx="728">
                  <c:v>44919</c:v>
                </c:pt>
                <c:pt idx="729">
                  <c:v>44920</c:v>
                </c:pt>
                <c:pt idx="730">
                  <c:v>44921</c:v>
                </c:pt>
                <c:pt idx="731">
                  <c:v>44922</c:v>
                </c:pt>
                <c:pt idx="732">
                  <c:v>44923</c:v>
                </c:pt>
                <c:pt idx="733">
                  <c:v>44924</c:v>
                </c:pt>
                <c:pt idx="734">
                  <c:v>44925</c:v>
                </c:pt>
                <c:pt idx="735">
                  <c:v>44926</c:v>
                </c:pt>
                <c:pt idx="736">
                  <c:v>44927</c:v>
                </c:pt>
                <c:pt idx="737">
                  <c:v>44928</c:v>
                </c:pt>
                <c:pt idx="738">
                  <c:v>44929</c:v>
                </c:pt>
                <c:pt idx="739">
                  <c:v>44930</c:v>
                </c:pt>
                <c:pt idx="740">
                  <c:v>44931</c:v>
                </c:pt>
                <c:pt idx="741">
                  <c:v>44932</c:v>
                </c:pt>
                <c:pt idx="742">
                  <c:v>44933</c:v>
                </c:pt>
                <c:pt idx="743">
                  <c:v>44934</c:v>
                </c:pt>
                <c:pt idx="744">
                  <c:v>44935</c:v>
                </c:pt>
                <c:pt idx="745">
                  <c:v>44936</c:v>
                </c:pt>
                <c:pt idx="746">
                  <c:v>44937</c:v>
                </c:pt>
                <c:pt idx="747">
                  <c:v>44938</c:v>
                </c:pt>
                <c:pt idx="748">
                  <c:v>44939</c:v>
                </c:pt>
                <c:pt idx="749">
                  <c:v>44940</c:v>
                </c:pt>
                <c:pt idx="750">
                  <c:v>44941</c:v>
                </c:pt>
                <c:pt idx="751">
                  <c:v>44942</c:v>
                </c:pt>
                <c:pt idx="752">
                  <c:v>44943</c:v>
                </c:pt>
                <c:pt idx="753">
                  <c:v>44944</c:v>
                </c:pt>
                <c:pt idx="754">
                  <c:v>44945</c:v>
                </c:pt>
                <c:pt idx="755">
                  <c:v>44946</c:v>
                </c:pt>
                <c:pt idx="756">
                  <c:v>44947</c:v>
                </c:pt>
                <c:pt idx="757">
                  <c:v>44948</c:v>
                </c:pt>
                <c:pt idx="758">
                  <c:v>44949</c:v>
                </c:pt>
                <c:pt idx="759">
                  <c:v>44950</c:v>
                </c:pt>
                <c:pt idx="760">
                  <c:v>44951</c:v>
                </c:pt>
                <c:pt idx="761">
                  <c:v>44952</c:v>
                </c:pt>
                <c:pt idx="762">
                  <c:v>44953</c:v>
                </c:pt>
                <c:pt idx="763">
                  <c:v>44954</c:v>
                </c:pt>
                <c:pt idx="764">
                  <c:v>44955</c:v>
                </c:pt>
                <c:pt idx="765">
                  <c:v>44956</c:v>
                </c:pt>
                <c:pt idx="766">
                  <c:v>44957</c:v>
                </c:pt>
                <c:pt idx="767">
                  <c:v>44958</c:v>
                </c:pt>
                <c:pt idx="768">
                  <c:v>44959</c:v>
                </c:pt>
                <c:pt idx="769">
                  <c:v>44960</c:v>
                </c:pt>
                <c:pt idx="770">
                  <c:v>44961</c:v>
                </c:pt>
                <c:pt idx="771">
                  <c:v>44962</c:v>
                </c:pt>
                <c:pt idx="772">
                  <c:v>44963</c:v>
                </c:pt>
                <c:pt idx="773">
                  <c:v>44964</c:v>
                </c:pt>
                <c:pt idx="774">
                  <c:v>44965</c:v>
                </c:pt>
                <c:pt idx="775">
                  <c:v>44966</c:v>
                </c:pt>
                <c:pt idx="776">
                  <c:v>44967</c:v>
                </c:pt>
                <c:pt idx="777">
                  <c:v>44968</c:v>
                </c:pt>
                <c:pt idx="778">
                  <c:v>44969</c:v>
                </c:pt>
                <c:pt idx="779">
                  <c:v>44970</c:v>
                </c:pt>
                <c:pt idx="780">
                  <c:v>44971</c:v>
                </c:pt>
                <c:pt idx="781">
                  <c:v>44972</c:v>
                </c:pt>
                <c:pt idx="782">
                  <c:v>44973</c:v>
                </c:pt>
                <c:pt idx="783">
                  <c:v>44974</c:v>
                </c:pt>
                <c:pt idx="784">
                  <c:v>44975</c:v>
                </c:pt>
                <c:pt idx="785">
                  <c:v>44976</c:v>
                </c:pt>
                <c:pt idx="786">
                  <c:v>44977</c:v>
                </c:pt>
                <c:pt idx="787">
                  <c:v>44978</c:v>
                </c:pt>
                <c:pt idx="788">
                  <c:v>44979</c:v>
                </c:pt>
                <c:pt idx="789">
                  <c:v>44980</c:v>
                </c:pt>
                <c:pt idx="790">
                  <c:v>44981</c:v>
                </c:pt>
                <c:pt idx="791">
                  <c:v>44982</c:v>
                </c:pt>
                <c:pt idx="792">
                  <c:v>44983</c:v>
                </c:pt>
              </c:numCache>
            </c:numRef>
          </c:cat>
          <c:val>
            <c:numRef>
              <c:f>List1!$C$2:$C$794</c:f>
              <c:numCache>
                <c:formatCode>General</c:formatCode>
                <c:ptCount val="79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5.0464271295919998</c:v>
                </c:pt>
                <c:pt idx="57">
                  <c:v>0</c:v>
                </c:pt>
                <c:pt idx="58">
                  <c:v>0</c:v>
                </c:pt>
                <c:pt idx="59">
                  <c:v>3.0984693561380001</c:v>
                </c:pt>
                <c:pt idx="60">
                  <c:v>0</c:v>
                </c:pt>
                <c:pt idx="61">
                  <c:v>2.0136931131689999</c:v>
                </c:pt>
                <c:pt idx="62">
                  <c:v>0</c:v>
                </c:pt>
                <c:pt idx="63">
                  <c:v>1.633453119895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1.04128703077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.88833614639699998</c:v>
                </c:pt>
                <c:pt idx="77">
                  <c:v>2.65338793416</c:v>
                </c:pt>
                <c:pt idx="78">
                  <c:v>0</c:v>
                </c:pt>
                <c:pt idx="79">
                  <c:v>1.723915010989</c:v>
                </c:pt>
                <c:pt idx="80">
                  <c:v>0</c:v>
                </c:pt>
                <c:pt idx="81">
                  <c:v>0.823797872953</c:v>
                </c:pt>
                <c:pt idx="82">
                  <c:v>0</c:v>
                </c:pt>
                <c:pt idx="83">
                  <c:v>0.77868884372400005</c:v>
                </c:pt>
                <c:pt idx="84">
                  <c:v>0</c:v>
                </c:pt>
                <c:pt idx="85">
                  <c:v>1.5388403299269999</c:v>
                </c:pt>
                <c:pt idx="86">
                  <c:v>0.74907489250699999</c:v>
                </c:pt>
                <c:pt idx="87">
                  <c:v>2.1725276635180002</c:v>
                </c:pt>
                <c:pt idx="88">
                  <c:v>0</c:v>
                </c:pt>
                <c:pt idx="89">
                  <c:v>2.026506707737</c:v>
                </c:pt>
                <c:pt idx="90">
                  <c:v>0.65179275597499997</c:v>
                </c:pt>
                <c:pt idx="91">
                  <c:v>0</c:v>
                </c:pt>
                <c:pt idx="92">
                  <c:v>0.64410993668299998</c:v>
                </c:pt>
                <c:pt idx="93">
                  <c:v>0</c:v>
                </c:pt>
                <c:pt idx="94">
                  <c:v>1.1832219132690001</c:v>
                </c:pt>
                <c:pt idx="95">
                  <c:v>0</c:v>
                </c:pt>
                <c:pt idx="96">
                  <c:v>0.54017847496799998</c:v>
                </c:pt>
                <c:pt idx="97">
                  <c:v>0.51419433460599995</c:v>
                </c:pt>
                <c:pt idx="98">
                  <c:v>0</c:v>
                </c:pt>
                <c:pt idx="99">
                  <c:v>0.50697598961699997</c:v>
                </c:pt>
                <c:pt idx="100">
                  <c:v>0</c:v>
                </c:pt>
                <c:pt idx="101">
                  <c:v>0.93720712277399998</c:v>
                </c:pt>
                <c:pt idx="102">
                  <c:v>0</c:v>
                </c:pt>
                <c:pt idx="103">
                  <c:v>0.42513933941799997</c:v>
                </c:pt>
                <c:pt idx="104">
                  <c:v>0.40613095286400003</c:v>
                </c:pt>
                <c:pt idx="105">
                  <c:v>1.202096456219</c:v>
                </c:pt>
                <c:pt idx="106">
                  <c:v>0.39624832089700002</c:v>
                </c:pt>
                <c:pt idx="107">
                  <c:v>0.37644507854499998</c:v>
                </c:pt>
                <c:pt idx="108">
                  <c:v>0</c:v>
                </c:pt>
                <c:pt idx="109">
                  <c:v>0.67230506514599997</c:v>
                </c:pt>
                <c:pt idx="110">
                  <c:v>0.31341969090499999</c:v>
                </c:pt>
                <c:pt idx="111">
                  <c:v>0.60956282154399999</c:v>
                </c:pt>
                <c:pt idx="112">
                  <c:v>0.298042161044</c:v>
                </c:pt>
                <c:pt idx="113">
                  <c:v>0.58552808778200005</c:v>
                </c:pt>
                <c:pt idx="114">
                  <c:v>0.86585833980299998</c:v>
                </c:pt>
                <c:pt idx="115">
                  <c:v>0</c:v>
                </c:pt>
                <c:pt idx="116">
                  <c:v>0</c:v>
                </c:pt>
                <c:pt idx="117">
                  <c:v>0.99469083765400002</c:v>
                </c:pt>
                <c:pt idx="118">
                  <c:v>0.23690226597</c:v>
                </c:pt>
                <c:pt idx="119">
                  <c:v>0</c:v>
                </c:pt>
                <c:pt idx="120">
                  <c:v>0.68021658095899995</c:v>
                </c:pt>
                <c:pt idx="121">
                  <c:v>0.65343105757800002</c:v>
                </c:pt>
                <c:pt idx="122">
                  <c:v>0</c:v>
                </c:pt>
                <c:pt idx="123">
                  <c:v>0.20152514227599999</c:v>
                </c:pt>
                <c:pt idx="124">
                  <c:v>0</c:v>
                </c:pt>
                <c:pt idx="125">
                  <c:v>0.56610075461200005</c:v>
                </c:pt>
                <c:pt idx="126">
                  <c:v>0</c:v>
                </c:pt>
                <c:pt idx="127">
                  <c:v>0.37093707979700002</c:v>
                </c:pt>
                <c:pt idx="128">
                  <c:v>0.18186149792</c:v>
                </c:pt>
                <c:pt idx="129">
                  <c:v>0.35658314894999998</c:v>
                </c:pt>
                <c:pt idx="130">
                  <c:v>0.17532509656</c:v>
                </c:pt>
                <c:pt idx="131">
                  <c:v>0.51614856820300004</c:v>
                </c:pt>
                <c:pt idx="132">
                  <c:v>0.17003332653200001</c:v>
                </c:pt>
                <c:pt idx="133">
                  <c:v>0</c:v>
                </c:pt>
                <c:pt idx="134">
                  <c:v>0</c:v>
                </c:pt>
                <c:pt idx="135">
                  <c:v>0.16695549968100001</c:v>
                </c:pt>
                <c:pt idx="136">
                  <c:v>0.32970493057200001</c:v>
                </c:pt>
                <c:pt idx="137">
                  <c:v>0</c:v>
                </c:pt>
                <c:pt idx="138">
                  <c:v>0</c:v>
                </c:pt>
                <c:pt idx="139">
                  <c:v>0.15867525205499999</c:v>
                </c:pt>
                <c:pt idx="140">
                  <c:v>0</c:v>
                </c:pt>
                <c:pt idx="141">
                  <c:v>0</c:v>
                </c:pt>
                <c:pt idx="142">
                  <c:v>0.15701051970400001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.15119672205500001</c:v>
                </c:pt>
                <c:pt idx="147">
                  <c:v>0</c:v>
                </c:pt>
                <c:pt idx="148">
                  <c:v>0.15082251056099999</c:v>
                </c:pt>
                <c:pt idx="149">
                  <c:v>0</c:v>
                </c:pt>
                <c:pt idx="150">
                  <c:v>0.14845275120000001</c:v>
                </c:pt>
                <c:pt idx="151">
                  <c:v>0.147124596878</c:v>
                </c:pt>
                <c:pt idx="152">
                  <c:v>0.29168125072899997</c:v>
                </c:pt>
                <c:pt idx="153">
                  <c:v>0</c:v>
                </c:pt>
                <c:pt idx="154">
                  <c:v>0</c:v>
                </c:pt>
                <c:pt idx="155">
                  <c:v>0.288994789423</c:v>
                </c:pt>
                <c:pt idx="156">
                  <c:v>0.14365091678</c:v>
                </c:pt>
                <c:pt idx="157">
                  <c:v>0</c:v>
                </c:pt>
                <c:pt idx="158">
                  <c:v>0.13999818002299999</c:v>
                </c:pt>
                <c:pt idx="159">
                  <c:v>0.136451523549</c:v>
                </c:pt>
                <c:pt idx="160">
                  <c:v>0</c:v>
                </c:pt>
                <c:pt idx="161">
                  <c:v>0</c:v>
                </c:pt>
                <c:pt idx="162">
                  <c:v>0.13112999965899999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8">
                  <c:v>0</c:v>
                </c:pt>
                <c:pt idx="170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9.2815521725000003E-2</c:v>
                </c:pt>
                <c:pt idx="176">
                  <c:v>9.0993632264999999E-2</c:v>
                </c:pt>
                <c:pt idx="180">
                  <c:v>0</c:v>
                </c:pt>
                <c:pt idx="181">
                  <c:v>0</c:v>
                </c:pt>
                <c:pt idx="184">
                  <c:v>0</c:v>
                </c:pt>
                <c:pt idx="185">
                  <c:v>0</c:v>
                </c:pt>
                <c:pt idx="187">
                  <c:v>0</c:v>
                </c:pt>
                <c:pt idx="193">
                  <c:v>0</c:v>
                </c:pt>
                <c:pt idx="194">
                  <c:v>0</c:v>
                </c:pt>
                <c:pt idx="196">
                  <c:v>0</c:v>
                </c:pt>
                <c:pt idx="198">
                  <c:v>0</c:v>
                </c:pt>
                <c:pt idx="200">
                  <c:v>6.3209726711999994E-2</c:v>
                </c:pt>
                <c:pt idx="202">
                  <c:v>6.2058146000000002E-2</c:v>
                </c:pt>
                <c:pt idx="205">
                  <c:v>0</c:v>
                </c:pt>
                <c:pt idx="206">
                  <c:v>0</c:v>
                </c:pt>
                <c:pt idx="207">
                  <c:v>6.1227951049000001E-2</c:v>
                </c:pt>
                <c:pt idx="209">
                  <c:v>6.0438188956999997E-2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5.8885913840999997E-2</c:v>
                </c:pt>
                <c:pt idx="216">
                  <c:v>0</c:v>
                </c:pt>
                <c:pt idx="217">
                  <c:v>0.117157890173</c:v>
                </c:pt>
                <c:pt idx="219">
                  <c:v>0</c:v>
                </c:pt>
                <c:pt idx="221">
                  <c:v>0</c:v>
                </c:pt>
                <c:pt idx="223">
                  <c:v>5.7444654946999997E-2</c:v>
                </c:pt>
                <c:pt idx="224">
                  <c:v>0</c:v>
                </c:pt>
                <c:pt idx="225">
                  <c:v>5.7380873004000001E-2</c:v>
                </c:pt>
                <c:pt idx="227">
                  <c:v>0.114140722955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.16848139852999999</c:v>
                </c:pt>
                <c:pt idx="237">
                  <c:v>0.112137983545</c:v>
                </c:pt>
                <c:pt idx="240">
                  <c:v>0</c:v>
                </c:pt>
                <c:pt idx="241">
                  <c:v>5.5807962567999997E-2</c:v>
                </c:pt>
                <c:pt idx="242">
                  <c:v>0</c:v>
                </c:pt>
                <c:pt idx="243">
                  <c:v>0</c:v>
                </c:pt>
                <c:pt idx="244">
                  <c:v>5.5501996129000003E-2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5.5033622790999999E-2</c:v>
                </c:pt>
                <c:pt idx="253">
                  <c:v>0</c:v>
                </c:pt>
                <c:pt idx="254">
                  <c:v>0</c:v>
                </c:pt>
                <c:pt idx="255">
                  <c:v>5.4832407488000001E-2</c:v>
                </c:pt>
                <c:pt idx="257">
                  <c:v>5.4692447956999998E-2</c:v>
                </c:pt>
                <c:pt idx="258">
                  <c:v>5.4643823362000001E-2</c:v>
                </c:pt>
                <c:pt idx="259">
                  <c:v>5.4633285001000002E-2</c:v>
                </c:pt>
                <c:pt idx="260">
                  <c:v>5.4626182109999998E-2</c:v>
                </c:pt>
                <c:pt idx="261">
                  <c:v>0.163745537251</c:v>
                </c:pt>
                <c:pt idx="262">
                  <c:v>0.109077244686</c:v>
                </c:pt>
                <c:pt idx="263">
                  <c:v>5.4504615722999999E-2</c:v>
                </c:pt>
                <c:pt idx="264">
                  <c:v>5.4469642706E-2</c:v>
                </c:pt>
                <c:pt idx="265">
                  <c:v>0.16332459183799999</c:v>
                </c:pt>
                <c:pt idx="266">
                  <c:v>5.4436166517999998E-2</c:v>
                </c:pt>
                <c:pt idx="267">
                  <c:v>5.4432077475999999E-2</c:v>
                </c:pt>
                <c:pt idx="268">
                  <c:v>0.108811264142</c:v>
                </c:pt>
                <c:pt idx="269">
                  <c:v>0.108756473049</c:v>
                </c:pt>
                <c:pt idx="271">
                  <c:v>0.10865650040200001</c:v>
                </c:pt>
                <c:pt idx="272">
                  <c:v>5.4304146663999998E-2</c:v>
                </c:pt>
                <c:pt idx="273">
                  <c:v>0.10859903444500001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5.4226141445999999E-2</c:v>
                </c:pt>
                <c:pt idx="278">
                  <c:v>0.162610175169</c:v>
                </c:pt>
                <c:pt idx="279">
                  <c:v>5.4179692367000001E-2</c:v>
                </c:pt>
                <c:pt idx="280">
                  <c:v>5.4175465664999999E-2</c:v>
                </c:pt>
                <c:pt idx="281">
                  <c:v>0.16252005768300001</c:v>
                </c:pt>
                <c:pt idx="282">
                  <c:v>0.108314667105</c:v>
                </c:pt>
                <c:pt idx="283">
                  <c:v>0.270708525423</c:v>
                </c:pt>
                <c:pt idx="284">
                  <c:v>0.433032592198</c:v>
                </c:pt>
                <c:pt idx="285">
                  <c:v>0</c:v>
                </c:pt>
                <c:pt idx="286">
                  <c:v>5.4107635235999998E-2</c:v>
                </c:pt>
                <c:pt idx="287">
                  <c:v>0.108209825343</c:v>
                </c:pt>
                <c:pt idx="288">
                  <c:v>0.16231122528200001</c:v>
                </c:pt>
                <c:pt idx="289">
                  <c:v>0.43275290350099999</c:v>
                </c:pt>
                <c:pt idx="290">
                  <c:v>0.10818682133</c:v>
                </c:pt>
                <c:pt idx="291">
                  <c:v>0.16223222894600001</c:v>
                </c:pt>
                <c:pt idx="292">
                  <c:v>0.37844834017899998</c:v>
                </c:pt>
                <c:pt idx="293">
                  <c:v>0.108108867792</c:v>
                </c:pt>
                <c:pt idx="294">
                  <c:v>0.108105127912</c:v>
                </c:pt>
                <c:pt idx="295">
                  <c:v>0.10810390082100001</c:v>
                </c:pt>
                <c:pt idx="296">
                  <c:v>0.70266586022199995</c:v>
                </c:pt>
                <c:pt idx="297">
                  <c:v>0.16217180480999999</c:v>
                </c:pt>
                <c:pt idx="298">
                  <c:v>0.48661379517600001</c:v>
                </c:pt>
                <c:pt idx="299">
                  <c:v>0.37851341559599999</c:v>
                </c:pt>
                <c:pt idx="300">
                  <c:v>0.54085833135399997</c:v>
                </c:pt>
                <c:pt idx="301">
                  <c:v>0.27044993674099999</c:v>
                </c:pt>
                <c:pt idx="302">
                  <c:v>0.432739560563</c:v>
                </c:pt>
                <c:pt idx="303">
                  <c:v>0.32467251365700001</c:v>
                </c:pt>
                <c:pt idx="304">
                  <c:v>0.75804748625999996</c:v>
                </c:pt>
                <c:pt idx="305">
                  <c:v>0.75882732992500002</c:v>
                </c:pt>
                <c:pt idx="306">
                  <c:v>0.37978605024099998</c:v>
                </c:pt>
                <c:pt idx="307">
                  <c:v>0.92321411018699995</c:v>
                </c:pt>
                <c:pt idx="308">
                  <c:v>0.59756108160700006</c:v>
                </c:pt>
                <c:pt idx="309">
                  <c:v>0.65199142631200002</c:v>
                </c:pt>
                <c:pt idx="310">
                  <c:v>1.0892819017990001</c:v>
                </c:pt>
                <c:pt idx="311">
                  <c:v>0.98433808732100003</c:v>
                </c:pt>
                <c:pt idx="312">
                  <c:v>0.60504186889699996</c:v>
                </c:pt>
                <c:pt idx="313">
                  <c:v>0.77521483141000003</c:v>
                </c:pt>
                <c:pt idx="314">
                  <c:v>0.78039948649699997</c:v>
                </c:pt>
                <c:pt idx="315">
                  <c:v>1.116339923273</c:v>
                </c:pt>
                <c:pt idx="316">
                  <c:v>0.72631378990499995</c:v>
                </c:pt>
                <c:pt idx="317">
                  <c:v>1.4079620818909999</c:v>
                </c:pt>
                <c:pt idx="318">
                  <c:v>1.193756992005</c:v>
                </c:pt>
                <c:pt idx="319">
                  <c:v>1.091054843307</c:v>
                </c:pt>
                <c:pt idx="320">
                  <c:v>0.97787865906299998</c:v>
                </c:pt>
                <c:pt idx="321">
                  <c:v>1.448874716962</c:v>
                </c:pt>
                <c:pt idx="322">
                  <c:v>1.3931618970220001</c:v>
                </c:pt>
                <c:pt idx="323">
                  <c:v>1.2790229195089999</c:v>
                </c:pt>
                <c:pt idx="324">
                  <c:v>1.29132307201</c:v>
                </c:pt>
                <c:pt idx="325">
                  <c:v>1.365108306505</c:v>
                </c:pt>
                <c:pt idx="326">
                  <c:v>2.1658890523330001</c:v>
                </c:pt>
                <c:pt idx="327">
                  <c:v>1.6464027015630001</c:v>
                </c:pt>
                <c:pt idx="328">
                  <c:v>1.8511719461060001</c:v>
                </c:pt>
                <c:pt idx="329">
                  <c:v>2.1661002830160001</c:v>
                </c:pt>
                <c:pt idx="330">
                  <c:v>1.8605274223129999</c:v>
                </c:pt>
                <c:pt idx="331">
                  <c:v>2.3217973472520002</c:v>
                </c:pt>
                <c:pt idx="332">
                  <c:v>1.398909105245</c:v>
                </c:pt>
                <c:pt idx="333">
                  <c:v>1.933802086959</c:v>
                </c:pt>
                <c:pt idx="334">
                  <c:v>1.8282693537000001</c:v>
                </c:pt>
                <c:pt idx="335">
                  <c:v>2.1786751278479999</c:v>
                </c:pt>
                <c:pt idx="336">
                  <c:v>1.9856924241859999</c:v>
                </c:pt>
                <c:pt idx="337">
                  <c:v>1.0609143888499999</c:v>
                </c:pt>
                <c:pt idx="338">
                  <c:v>2.4798744781369999</c:v>
                </c:pt>
                <c:pt idx="339">
                  <c:v>1.5602708901610001</c:v>
                </c:pt>
                <c:pt idx="340">
                  <c:v>2.243207160861</c:v>
                </c:pt>
                <c:pt idx="341">
                  <c:v>1.857863786931</c:v>
                </c:pt>
                <c:pt idx="342">
                  <c:v>1.3908379937990001</c:v>
                </c:pt>
                <c:pt idx="343">
                  <c:v>1.742808822237</c:v>
                </c:pt>
                <c:pt idx="344">
                  <c:v>1.675290924739</c:v>
                </c:pt>
                <c:pt idx="345">
                  <c:v>2.6106731373719998</c:v>
                </c:pt>
                <c:pt idx="346">
                  <c:v>2.6473557566750001</c:v>
                </c:pt>
                <c:pt idx="347">
                  <c:v>2.177125091802</c:v>
                </c:pt>
                <c:pt idx="348">
                  <c:v>2.4345349853739999</c:v>
                </c:pt>
                <c:pt idx="349">
                  <c:v>1.647394645368</c:v>
                </c:pt>
                <c:pt idx="350">
                  <c:v>2.0287343928329999</c:v>
                </c:pt>
                <c:pt idx="351">
                  <c:v>1.281647263532</c:v>
                </c:pt>
                <c:pt idx="352">
                  <c:v>2.229923575136</c:v>
                </c:pt>
                <c:pt idx="353">
                  <c:v>2.0534578255299998</c:v>
                </c:pt>
                <c:pt idx="354">
                  <c:v>1.3092678983049999</c:v>
                </c:pt>
                <c:pt idx="355">
                  <c:v>1.450680283718</c:v>
                </c:pt>
                <c:pt idx="356">
                  <c:v>1.598489604933</c:v>
                </c:pt>
                <c:pt idx="357">
                  <c:v>1.351759314748</c:v>
                </c:pt>
                <c:pt idx="358">
                  <c:v>0.546487406653</c:v>
                </c:pt>
                <c:pt idx="359">
                  <c:v>2.9396313512629999</c:v>
                </c:pt>
                <c:pt idx="360">
                  <c:v>1.694236208418</c:v>
                </c:pt>
                <c:pt idx="361">
                  <c:v>2.1058949263720002</c:v>
                </c:pt>
                <c:pt idx="362">
                  <c:v>1.7791932248319999</c:v>
                </c:pt>
                <c:pt idx="363">
                  <c:v>0.69869646529399998</c:v>
                </c:pt>
                <c:pt idx="364">
                  <c:v>1.182972763235</c:v>
                </c:pt>
                <c:pt idx="365">
                  <c:v>0.71613744109699995</c:v>
                </c:pt>
                <c:pt idx="366">
                  <c:v>2.1111193900099998</c:v>
                </c:pt>
                <c:pt idx="367">
                  <c:v>1.5648513521609999</c:v>
                </c:pt>
                <c:pt idx="368">
                  <c:v>1.917611204328</c:v>
                </c:pt>
                <c:pt idx="369">
                  <c:v>1.2948801876130001</c:v>
                </c:pt>
                <c:pt idx="370">
                  <c:v>1.3481126423000001</c:v>
                </c:pt>
                <c:pt idx="371">
                  <c:v>2.1177274968759998</c:v>
                </c:pt>
                <c:pt idx="372">
                  <c:v>1.368192860465</c:v>
                </c:pt>
                <c:pt idx="373">
                  <c:v>1.5675823960490001</c:v>
                </c:pt>
                <c:pt idx="374">
                  <c:v>1.6194279532689999</c:v>
                </c:pt>
                <c:pt idx="375">
                  <c:v>0.82794479264099996</c:v>
                </c:pt>
                <c:pt idx="376">
                  <c:v>1.500135012151</c:v>
                </c:pt>
                <c:pt idx="377">
                  <c:v>1.166806683468</c:v>
                </c:pt>
                <c:pt idx="378">
                  <c:v>1.3335000208350001</c:v>
                </c:pt>
                <c:pt idx="379">
                  <c:v>0.83352504409299999</c:v>
                </c:pt>
                <c:pt idx="380">
                  <c:v>1.012697539313</c:v>
                </c:pt>
                <c:pt idx="381">
                  <c:v>1.5437842955959999</c:v>
                </c:pt>
                <c:pt idx="382">
                  <c:v>0.87064178488499999</c:v>
                </c:pt>
                <c:pt idx="383">
                  <c:v>1.2318131585800001</c:v>
                </c:pt>
                <c:pt idx="384">
                  <c:v>0.88182021802099997</c:v>
                </c:pt>
                <c:pt idx="385">
                  <c:v>0.52909772964099999</c:v>
                </c:pt>
                <c:pt idx="386">
                  <c:v>0.35316595621399999</c:v>
                </c:pt>
                <c:pt idx="387">
                  <c:v>1.2535614576409999</c:v>
                </c:pt>
                <c:pt idx="388">
                  <c:v>0.36628091181900002</c:v>
                </c:pt>
                <c:pt idx="389">
                  <c:v>0.93950878722499997</c:v>
                </c:pt>
                <c:pt idx="390">
                  <c:v>1.35382377856</c:v>
                </c:pt>
                <c:pt idx="391">
                  <c:v>0.79260656595199996</c:v>
                </c:pt>
                <c:pt idx="392">
                  <c:v>1.5922616085820001</c:v>
                </c:pt>
                <c:pt idx="393">
                  <c:v>1.1968857033989999</c:v>
                </c:pt>
                <c:pt idx="394">
                  <c:v>0.81671988957899999</c:v>
                </c:pt>
                <c:pt idx="395">
                  <c:v>0.63133970284899998</c:v>
                </c:pt>
                <c:pt idx="396">
                  <c:v>0.86858899888600005</c:v>
                </c:pt>
                <c:pt idx="397">
                  <c:v>2.6825893246349999</c:v>
                </c:pt>
                <c:pt idx="398">
                  <c:v>3.2050401545740002</c:v>
                </c:pt>
                <c:pt idx="399">
                  <c:v>1.378809535846</c:v>
                </c:pt>
                <c:pt idx="400">
                  <c:v>2.532811420676</c:v>
                </c:pt>
                <c:pt idx="401">
                  <c:v>1.874928225403</c:v>
                </c:pt>
                <c:pt idx="402">
                  <c:v>0.71991994490199995</c:v>
                </c:pt>
                <c:pt idx="403">
                  <c:v>1.4694249405490001</c:v>
                </c:pt>
                <c:pt idx="404">
                  <c:v>2.5018325923729998</c:v>
                </c:pt>
                <c:pt idx="405">
                  <c:v>2.0358513421339999</c:v>
                </c:pt>
                <c:pt idx="406">
                  <c:v>0.76491585925500005</c:v>
                </c:pt>
                <c:pt idx="407">
                  <c:v>0.76560494274500002</c:v>
                </c:pt>
                <c:pt idx="408">
                  <c:v>1.5508364177739999</c:v>
                </c:pt>
                <c:pt idx="409">
                  <c:v>2.8870330224080001</c:v>
                </c:pt>
                <c:pt idx="410">
                  <c:v>3.4632772726419998</c:v>
                </c:pt>
                <c:pt idx="411">
                  <c:v>3.2437078824799999</c:v>
                </c:pt>
                <c:pt idx="412">
                  <c:v>3.01500375505</c:v>
                </c:pt>
                <c:pt idx="413">
                  <c:v>1.0985540282599999</c:v>
                </c:pt>
                <c:pt idx="414">
                  <c:v>2.198363867691</c:v>
                </c:pt>
                <c:pt idx="415">
                  <c:v>3.3264125472280002</c:v>
                </c:pt>
                <c:pt idx="416">
                  <c:v>4.1983643172610003</c:v>
                </c:pt>
                <c:pt idx="417">
                  <c:v>1.6947141864519999</c:v>
                </c:pt>
                <c:pt idx="418">
                  <c:v>1.9947168499429999</c:v>
                </c:pt>
                <c:pt idx="419">
                  <c:v>2.8739761459970001</c:v>
                </c:pt>
                <c:pt idx="420">
                  <c:v>1.726012737974</c:v>
                </c:pt>
                <c:pt idx="421">
                  <c:v>1.7265938619579999</c:v>
                </c:pt>
                <c:pt idx="422">
                  <c:v>2.6020209029010002</c:v>
                </c:pt>
                <c:pt idx="423">
                  <c:v>3.7822803077030001</c:v>
                </c:pt>
                <c:pt idx="424">
                  <c:v>2.34061850844</c:v>
                </c:pt>
                <c:pt idx="425">
                  <c:v>3.5333087964660002</c:v>
                </c:pt>
                <c:pt idx="426">
                  <c:v>3.554765607642</c:v>
                </c:pt>
                <c:pt idx="427">
                  <c:v>1.185490778363</c:v>
                </c:pt>
                <c:pt idx="428">
                  <c:v>0.59292463038499998</c:v>
                </c:pt>
                <c:pt idx="429">
                  <c:v>1.189690145201</c:v>
                </c:pt>
                <c:pt idx="430">
                  <c:v>1.7914832884459999</c:v>
                </c:pt>
                <c:pt idx="431">
                  <c:v>0.59944850737300004</c:v>
                </c:pt>
                <c:pt idx="432">
                  <c:v>0.90247006055500001</c:v>
                </c:pt>
                <c:pt idx="433">
                  <c:v>1.5113959252760001</c:v>
                </c:pt>
                <c:pt idx="434">
                  <c:v>1.2095774341229999</c:v>
                </c:pt>
                <c:pt idx="435">
                  <c:v>1.814503325077</c:v>
                </c:pt>
                <c:pt idx="436">
                  <c:v>0.90921213737499995</c:v>
                </c:pt>
                <c:pt idx="437">
                  <c:v>1.8235197578360001</c:v>
                </c:pt>
                <c:pt idx="438">
                  <c:v>1.5235355776020001</c:v>
                </c:pt>
                <c:pt idx="439">
                  <c:v>1.8333990301309999</c:v>
                </c:pt>
                <c:pt idx="440">
                  <c:v>1.5334318818879999</c:v>
                </c:pt>
                <c:pt idx="441">
                  <c:v>0</c:v>
                </c:pt>
                <c:pt idx="442">
                  <c:v>1.2271933780640001</c:v>
                </c:pt>
                <c:pt idx="443">
                  <c:v>1.537123058997</c:v>
                </c:pt>
                <c:pt idx="444">
                  <c:v>1.847296327882</c:v>
                </c:pt>
                <c:pt idx="445">
                  <c:v>1.5419106740299999</c:v>
                </c:pt>
                <c:pt idx="446">
                  <c:v>0.61781595880399998</c:v>
                </c:pt>
                <c:pt idx="447">
                  <c:v>2.1678739660009998</c:v>
                </c:pt>
                <c:pt idx="448">
                  <c:v>0.61945970724300004</c:v>
                </c:pt>
                <c:pt idx="449">
                  <c:v>2.168196277516</c:v>
                </c:pt>
                <c:pt idx="450">
                  <c:v>1.2404177727050001</c:v>
                </c:pt>
                <c:pt idx="451">
                  <c:v>0.93123453762599995</c:v>
                </c:pt>
                <c:pt idx="452">
                  <c:v>0.932450199388</c:v>
                </c:pt>
                <c:pt idx="453">
                  <c:v>0.62246152409699995</c:v>
                </c:pt>
                <c:pt idx="454">
                  <c:v>1.87123414129</c:v>
                </c:pt>
                <c:pt idx="455">
                  <c:v>0.93577466545999999</c:v>
                </c:pt>
                <c:pt idx="456">
                  <c:v>0.93581553204199996</c:v>
                </c:pt>
                <c:pt idx="457">
                  <c:v>1.2490593022130001</c:v>
                </c:pt>
                <c:pt idx="458">
                  <c:v>0.62520319103699995</c:v>
                </c:pt>
                <c:pt idx="459">
                  <c:v>0.93890248558699996</c:v>
                </c:pt>
                <c:pt idx="460">
                  <c:v>0.94028264896400005</c:v>
                </c:pt>
                <c:pt idx="461">
                  <c:v>0.62819200060299996</c:v>
                </c:pt>
                <c:pt idx="462">
                  <c:v>0.62822554553499999</c:v>
                </c:pt>
                <c:pt idx="463">
                  <c:v>0.62822751887799999</c:v>
                </c:pt>
                <c:pt idx="464">
                  <c:v>0.31437544602</c:v>
                </c:pt>
                <c:pt idx="465">
                  <c:v>0.31468311410400002</c:v>
                </c:pt>
                <c:pt idx="466">
                  <c:v>1.8903293898960001</c:v>
                </c:pt>
                <c:pt idx="467">
                  <c:v>1.261758007431</c:v>
                </c:pt>
                <c:pt idx="468">
                  <c:v>1.896855330005</c:v>
                </c:pt>
                <c:pt idx="469">
                  <c:v>1.2646141978230001</c:v>
                </c:pt>
                <c:pt idx="470">
                  <c:v>0.316157547629</c:v>
                </c:pt>
                <c:pt idx="471">
                  <c:v>0.94908176339299999</c:v>
                </c:pt>
                <c:pt idx="472">
                  <c:v>0.63329417464299997</c:v>
                </c:pt>
                <c:pt idx="473">
                  <c:v>0.95080533211600005</c:v>
                </c:pt>
                <c:pt idx="474">
                  <c:v>0.95183704549699999</c:v>
                </c:pt>
                <c:pt idx="475">
                  <c:v>0</c:v>
                </c:pt>
                <c:pt idx="476">
                  <c:v>0.31784778905</c:v>
                </c:pt>
                <c:pt idx="477">
                  <c:v>0.31785789209300003</c:v>
                </c:pt>
                <c:pt idx="478">
                  <c:v>0.31801254877500001</c:v>
                </c:pt>
                <c:pt idx="479">
                  <c:v>1.2726977692779999</c:v>
                </c:pt>
                <c:pt idx="480">
                  <c:v>1.592265411536</c:v>
                </c:pt>
                <c:pt idx="481">
                  <c:v>0</c:v>
                </c:pt>
                <c:pt idx="482">
                  <c:v>0.63849213696899998</c:v>
                </c:pt>
                <c:pt idx="483">
                  <c:v>0.31926135692399998</c:v>
                </c:pt>
                <c:pt idx="484">
                  <c:v>0</c:v>
                </c:pt>
                <c:pt idx="485">
                  <c:v>0.31941840297099999</c:v>
                </c:pt>
                <c:pt idx="486">
                  <c:v>0.63918797559499996</c:v>
                </c:pt>
                <c:pt idx="487">
                  <c:v>0</c:v>
                </c:pt>
                <c:pt idx="488">
                  <c:v>0.64026635080100003</c:v>
                </c:pt>
                <c:pt idx="489">
                  <c:v>0.32013624998700002</c:v>
                </c:pt>
                <c:pt idx="490">
                  <c:v>0.32014444917500001</c:v>
                </c:pt>
                <c:pt idx="491">
                  <c:v>0.32014547410299998</c:v>
                </c:pt>
                <c:pt idx="492">
                  <c:v>0.64028889835000002</c:v>
                </c:pt>
                <c:pt idx="493">
                  <c:v>0.32026953884300002</c:v>
                </c:pt>
                <c:pt idx="494">
                  <c:v>0.32055186208499997</c:v>
                </c:pt>
                <c:pt idx="495">
                  <c:v>0.32080071859300002</c:v>
                </c:pt>
                <c:pt idx="496">
                  <c:v>0.32121702707200001</c:v>
                </c:pt>
                <c:pt idx="497">
                  <c:v>0</c:v>
                </c:pt>
                <c:pt idx="498">
                  <c:v>0.321269657687</c:v>
                </c:pt>
                <c:pt idx="499">
                  <c:v>0.64295243759300003</c:v>
                </c:pt>
                <c:pt idx="500">
                  <c:v>0.32164579721499997</c:v>
                </c:pt>
                <c:pt idx="501">
                  <c:v>0.32189635581100001</c:v>
                </c:pt>
                <c:pt idx="502">
                  <c:v>0</c:v>
                </c:pt>
                <c:pt idx="503">
                  <c:v>0</c:v>
                </c:pt>
                <c:pt idx="504">
                  <c:v>0</c:v>
                </c:pt>
                <c:pt idx="505">
                  <c:v>0</c:v>
                </c:pt>
                <c:pt idx="506">
                  <c:v>0</c:v>
                </c:pt>
                <c:pt idx="508">
                  <c:v>0.32312265736000001</c:v>
                </c:pt>
                <c:pt idx="509">
                  <c:v>0.32338493478899999</c:v>
                </c:pt>
                <c:pt idx="510">
                  <c:v>0</c:v>
                </c:pt>
                <c:pt idx="511">
                  <c:v>0.32385936730800002</c:v>
                </c:pt>
                <c:pt idx="512">
                  <c:v>0</c:v>
                </c:pt>
                <c:pt idx="513">
                  <c:v>0.32396848434499997</c:v>
                </c:pt>
                <c:pt idx="514">
                  <c:v>0</c:v>
                </c:pt>
                <c:pt idx="517">
                  <c:v>0</c:v>
                </c:pt>
                <c:pt idx="518">
                  <c:v>0.32499821250900002</c:v>
                </c:pt>
                <c:pt idx="519">
                  <c:v>0</c:v>
                </c:pt>
                <c:pt idx="520">
                  <c:v>0</c:v>
                </c:pt>
                <c:pt idx="521">
                  <c:v>0</c:v>
                </c:pt>
                <c:pt idx="522">
                  <c:v>0</c:v>
                </c:pt>
                <c:pt idx="525">
                  <c:v>0.32609829907100002</c:v>
                </c:pt>
                <c:pt idx="527">
                  <c:v>0</c:v>
                </c:pt>
                <c:pt idx="528">
                  <c:v>0</c:v>
                </c:pt>
                <c:pt idx="530">
                  <c:v>0</c:v>
                </c:pt>
                <c:pt idx="531">
                  <c:v>0.32712665035299998</c:v>
                </c:pt>
                <c:pt idx="532">
                  <c:v>0</c:v>
                </c:pt>
                <c:pt idx="534">
                  <c:v>0</c:v>
                </c:pt>
                <c:pt idx="535">
                  <c:v>0</c:v>
                </c:pt>
                <c:pt idx="537">
                  <c:v>0</c:v>
                </c:pt>
                <c:pt idx="538">
                  <c:v>0.32785917792500002</c:v>
                </c:pt>
                <c:pt idx="540">
                  <c:v>0</c:v>
                </c:pt>
                <c:pt idx="542">
                  <c:v>0</c:v>
                </c:pt>
                <c:pt idx="543">
                  <c:v>0</c:v>
                </c:pt>
                <c:pt idx="544">
                  <c:v>0</c:v>
                </c:pt>
                <c:pt idx="545">
                  <c:v>0</c:v>
                </c:pt>
                <c:pt idx="547">
                  <c:v>0</c:v>
                </c:pt>
                <c:pt idx="548">
                  <c:v>0</c:v>
                </c:pt>
                <c:pt idx="550">
                  <c:v>0</c:v>
                </c:pt>
                <c:pt idx="552">
                  <c:v>0</c:v>
                </c:pt>
                <c:pt idx="553">
                  <c:v>0</c:v>
                </c:pt>
                <c:pt idx="554">
                  <c:v>0.32907726734199999</c:v>
                </c:pt>
                <c:pt idx="555">
                  <c:v>0</c:v>
                </c:pt>
                <c:pt idx="556">
                  <c:v>0</c:v>
                </c:pt>
                <c:pt idx="557">
                  <c:v>0</c:v>
                </c:pt>
                <c:pt idx="558">
                  <c:v>0</c:v>
                </c:pt>
                <c:pt idx="559">
                  <c:v>0.32952403548300002</c:v>
                </c:pt>
                <c:pt idx="561">
                  <c:v>0</c:v>
                </c:pt>
                <c:pt idx="562">
                  <c:v>0</c:v>
                </c:pt>
                <c:pt idx="563">
                  <c:v>0.32967721303999997</c:v>
                </c:pt>
                <c:pt idx="564">
                  <c:v>0</c:v>
                </c:pt>
                <c:pt idx="565">
                  <c:v>0</c:v>
                </c:pt>
                <c:pt idx="566">
                  <c:v>0.99032126021599998</c:v>
                </c:pt>
                <c:pt idx="567">
                  <c:v>0.330112535363</c:v>
                </c:pt>
                <c:pt idx="568">
                  <c:v>0</c:v>
                </c:pt>
                <c:pt idx="569">
                  <c:v>0</c:v>
                </c:pt>
                <c:pt idx="570">
                  <c:v>0.66035150510600005</c:v>
                </c:pt>
                <c:pt idx="571">
                  <c:v>0</c:v>
                </c:pt>
                <c:pt idx="572">
                  <c:v>0.33027389614199998</c:v>
                </c:pt>
                <c:pt idx="573">
                  <c:v>0.66087082949200004</c:v>
                </c:pt>
                <c:pt idx="574">
                  <c:v>0.33043869040500001</c:v>
                </c:pt>
                <c:pt idx="575">
                  <c:v>0</c:v>
                </c:pt>
                <c:pt idx="576">
                  <c:v>0.66108053613600004</c:v>
                </c:pt>
                <c:pt idx="577">
                  <c:v>0.99191916520000001</c:v>
                </c:pt>
                <c:pt idx="578">
                  <c:v>0.330850849128</c:v>
                </c:pt>
                <c:pt idx="579">
                  <c:v>0.33101950697900001</c:v>
                </c:pt>
                <c:pt idx="580">
                  <c:v>0.33133318533700001</c:v>
                </c:pt>
                <c:pt idx="581">
                  <c:v>0.66270589443700001</c:v>
                </c:pt>
                <c:pt idx="582">
                  <c:v>1.3254205725149999</c:v>
                </c:pt>
                <c:pt idx="583">
                  <c:v>0.99435208018400001</c:v>
                </c:pt>
                <c:pt idx="584">
                  <c:v>0</c:v>
                </c:pt>
                <c:pt idx="585">
                  <c:v>0.99538473278799999</c:v>
                </c:pt>
                <c:pt idx="586">
                  <c:v>0</c:v>
                </c:pt>
                <c:pt idx="587">
                  <c:v>0.33237940444199998</c:v>
                </c:pt>
                <c:pt idx="588">
                  <c:v>0.33238603313800003</c:v>
                </c:pt>
                <c:pt idx="589">
                  <c:v>0.66477427589399996</c:v>
                </c:pt>
                <c:pt idx="590">
                  <c:v>0</c:v>
                </c:pt>
                <c:pt idx="591">
                  <c:v>0</c:v>
                </c:pt>
                <c:pt idx="592">
                  <c:v>1.3318461051820001</c:v>
                </c:pt>
                <c:pt idx="593">
                  <c:v>0.33322781119299999</c:v>
                </c:pt>
                <c:pt idx="594">
                  <c:v>1.000740548005</c:v>
                </c:pt>
                <c:pt idx="595">
                  <c:v>0.33359131061300001</c:v>
                </c:pt>
                <c:pt idx="596">
                  <c:v>0</c:v>
                </c:pt>
                <c:pt idx="597">
                  <c:v>0</c:v>
                </c:pt>
                <c:pt idx="598">
                  <c:v>0</c:v>
                </c:pt>
                <c:pt idx="599">
                  <c:v>0</c:v>
                </c:pt>
                <c:pt idx="600">
                  <c:v>0.66874870429900002</c:v>
                </c:pt>
                <c:pt idx="601">
                  <c:v>2.0080590101600002</c:v>
                </c:pt>
                <c:pt idx="602">
                  <c:v>0</c:v>
                </c:pt>
                <c:pt idx="603">
                  <c:v>0</c:v>
                </c:pt>
                <c:pt idx="604">
                  <c:v>0</c:v>
                </c:pt>
                <c:pt idx="605">
                  <c:v>0</c:v>
                </c:pt>
                <c:pt idx="606">
                  <c:v>0.33527457311100001</c:v>
                </c:pt>
                <c:pt idx="607">
                  <c:v>0</c:v>
                </c:pt>
                <c:pt idx="608">
                  <c:v>0.335733830219</c:v>
                </c:pt>
                <c:pt idx="609">
                  <c:v>0.33574848409500002</c:v>
                </c:pt>
                <c:pt idx="610">
                  <c:v>0</c:v>
                </c:pt>
                <c:pt idx="611">
                  <c:v>0</c:v>
                </c:pt>
                <c:pt idx="612">
                  <c:v>0</c:v>
                </c:pt>
                <c:pt idx="613">
                  <c:v>0.33632437813600002</c:v>
                </c:pt>
                <c:pt idx="614">
                  <c:v>0</c:v>
                </c:pt>
                <c:pt idx="615">
                  <c:v>0</c:v>
                </c:pt>
                <c:pt idx="616">
                  <c:v>0.67357076702800001</c:v>
                </c:pt>
                <c:pt idx="617">
                  <c:v>0</c:v>
                </c:pt>
                <c:pt idx="618">
                  <c:v>1.3477270583159999</c:v>
                </c:pt>
                <c:pt idx="619">
                  <c:v>0.33714873316299998</c:v>
                </c:pt>
                <c:pt idx="620">
                  <c:v>0.67477976875199996</c:v>
                </c:pt>
                <c:pt idx="621">
                  <c:v>0.67523768366400005</c:v>
                </c:pt>
                <c:pt idx="622">
                  <c:v>0.67563915464000002</c:v>
                </c:pt>
                <c:pt idx="623">
                  <c:v>0</c:v>
                </c:pt>
                <c:pt idx="624">
                  <c:v>0.33784126190399999</c:v>
                </c:pt>
                <c:pt idx="625">
                  <c:v>0.33796914341700002</c:v>
                </c:pt>
                <c:pt idx="626">
                  <c:v>0.33820689468499998</c:v>
                </c:pt>
                <c:pt idx="627">
                  <c:v>1.3535462912830001</c:v>
                </c:pt>
                <c:pt idx="628">
                  <c:v>0</c:v>
                </c:pt>
                <c:pt idx="629">
                  <c:v>0.33880962625900002</c:v>
                </c:pt>
                <c:pt idx="630">
                  <c:v>0.33881192211299999</c:v>
                </c:pt>
                <c:pt idx="631">
                  <c:v>0.67762384422699995</c:v>
                </c:pt>
                <c:pt idx="632">
                  <c:v>0.33900028815</c:v>
                </c:pt>
                <c:pt idx="633">
                  <c:v>0.339225683454</c:v>
                </c:pt>
                <c:pt idx="634">
                  <c:v>0</c:v>
                </c:pt>
                <c:pt idx="635">
                  <c:v>0.33973738300200002</c:v>
                </c:pt>
                <c:pt idx="636">
                  <c:v>0.68001999258699997</c:v>
                </c:pt>
                <c:pt idx="637">
                  <c:v>0.68003617792399995</c:v>
                </c:pt>
                <c:pt idx="638">
                  <c:v>0.340019245089</c:v>
                </c:pt>
                <c:pt idx="639">
                  <c:v>1.0204879973600001</c:v>
                </c:pt>
                <c:pt idx="640">
                  <c:v>1.361512095333</c:v>
                </c:pt>
                <c:pt idx="641">
                  <c:v>0.34062149798500002</c:v>
                </c:pt>
                <c:pt idx="642">
                  <c:v>0.34091412714000002</c:v>
                </c:pt>
                <c:pt idx="643">
                  <c:v>1.023660199409</c:v>
                </c:pt>
                <c:pt idx="644">
                  <c:v>0</c:v>
                </c:pt>
                <c:pt idx="645">
                  <c:v>0.34124684773199998</c:v>
                </c:pt>
                <c:pt idx="646">
                  <c:v>1.024310297732</c:v>
                </c:pt>
                <c:pt idx="647">
                  <c:v>1.0253220365619999</c:v>
                </c:pt>
                <c:pt idx="648">
                  <c:v>0.34211192533700002</c:v>
                </c:pt>
                <c:pt idx="649">
                  <c:v>0.68483769346599999</c:v>
                </c:pt>
                <c:pt idx="650">
                  <c:v>0.34273336714899999</c:v>
                </c:pt>
                <c:pt idx="651">
                  <c:v>1.028210673512</c:v>
                </c:pt>
                <c:pt idx="652">
                  <c:v>1.0282318182900001</c:v>
                </c:pt>
                <c:pt idx="653">
                  <c:v>1.371817383669</c:v>
                </c:pt>
                <c:pt idx="654">
                  <c:v>1.029767135325</c:v>
                </c:pt>
                <c:pt idx="655">
                  <c:v>1.716302124095</c:v>
                </c:pt>
                <c:pt idx="656">
                  <c:v>0.68715062685299999</c:v>
                </c:pt>
                <c:pt idx="657">
                  <c:v>0.34394045702800002</c:v>
                </c:pt>
                <c:pt idx="658">
                  <c:v>0.34395465301799999</c:v>
                </c:pt>
                <c:pt idx="659">
                  <c:v>0.687928235326</c:v>
                </c:pt>
                <c:pt idx="660">
                  <c:v>0.68838522036899996</c:v>
                </c:pt>
                <c:pt idx="661">
                  <c:v>0.688963832843</c:v>
                </c:pt>
                <c:pt idx="662">
                  <c:v>0.34484661222599999</c:v>
                </c:pt>
                <c:pt idx="663">
                  <c:v>0.69054812257200004</c:v>
                </c:pt>
                <c:pt idx="664">
                  <c:v>0.69144338807200001</c:v>
                </c:pt>
                <c:pt idx="665">
                  <c:v>0</c:v>
                </c:pt>
                <c:pt idx="666">
                  <c:v>0</c:v>
                </c:pt>
                <c:pt idx="667">
                  <c:v>0.34596330021299998</c:v>
                </c:pt>
                <c:pt idx="668">
                  <c:v>1.03910498424</c:v>
                </c:pt>
                <c:pt idx="669">
                  <c:v>0.34684165984499998</c:v>
                </c:pt>
                <c:pt idx="670">
                  <c:v>0.34726924826599997</c:v>
                </c:pt>
                <c:pt idx="671">
                  <c:v>0.34775109367700002</c:v>
                </c:pt>
                <c:pt idx="672">
                  <c:v>0.69554330626500005</c:v>
                </c:pt>
                <c:pt idx="673">
                  <c:v>0</c:v>
                </c:pt>
                <c:pt idx="674">
                  <c:v>0</c:v>
                </c:pt>
                <c:pt idx="675">
                  <c:v>0.69678156594600005</c:v>
                </c:pt>
                <c:pt idx="676">
                  <c:v>0.34879908475100002</c:v>
                </c:pt>
                <c:pt idx="677">
                  <c:v>0.34929128797600001</c:v>
                </c:pt>
                <c:pt idx="678">
                  <c:v>0</c:v>
                </c:pt>
                <c:pt idx="679">
                  <c:v>0.34975307432899999</c:v>
                </c:pt>
                <c:pt idx="680">
                  <c:v>0</c:v>
                </c:pt>
                <c:pt idx="681">
                  <c:v>0</c:v>
                </c:pt>
                <c:pt idx="682">
                  <c:v>0</c:v>
                </c:pt>
                <c:pt idx="683">
                  <c:v>0.70150086109200005</c:v>
                </c:pt>
                <c:pt idx="684">
                  <c:v>0</c:v>
                </c:pt>
                <c:pt idx="685">
                  <c:v>0.70229157741699999</c:v>
                </c:pt>
                <c:pt idx="686">
                  <c:v>0</c:v>
                </c:pt>
                <c:pt idx="687">
                  <c:v>0</c:v>
                </c:pt>
                <c:pt idx="688">
                  <c:v>0</c:v>
                </c:pt>
                <c:pt idx="689">
                  <c:v>0.70325218975100001</c:v>
                </c:pt>
                <c:pt idx="690">
                  <c:v>1.055713521578</c:v>
                </c:pt>
                <c:pt idx="691">
                  <c:v>0</c:v>
                </c:pt>
                <c:pt idx="692">
                  <c:v>0.35254715318099999</c:v>
                </c:pt>
                <c:pt idx="693">
                  <c:v>0.70512413710400001</c:v>
                </c:pt>
                <c:pt idx="694">
                  <c:v>0</c:v>
                </c:pt>
                <c:pt idx="695">
                  <c:v>0</c:v>
                </c:pt>
                <c:pt idx="696">
                  <c:v>0.35300264045899998</c:v>
                </c:pt>
                <c:pt idx="697">
                  <c:v>0</c:v>
                </c:pt>
                <c:pt idx="698">
                  <c:v>1.060332944544</c:v>
                </c:pt>
                <c:pt idx="699">
                  <c:v>0</c:v>
                </c:pt>
                <c:pt idx="700">
                  <c:v>0.35370309454799997</c:v>
                </c:pt>
                <c:pt idx="701">
                  <c:v>0</c:v>
                </c:pt>
                <c:pt idx="702">
                  <c:v>0</c:v>
                </c:pt>
                <c:pt idx="703">
                  <c:v>0.35408006458399999</c:v>
                </c:pt>
                <c:pt idx="704">
                  <c:v>0.35428202975200002</c:v>
                </c:pt>
                <c:pt idx="705">
                  <c:v>1.0628536202559999</c:v>
                </c:pt>
                <c:pt idx="706">
                  <c:v>0</c:v>
                </c:pt>
                <c:pt idx="707">
                  <c:v>0.70882774068200005</c:v>
                </c:pt>
                <c:pt idx="708">
                  <c:v>0</c:v>
                </c:pt>
                <c:pt idx="709">
                  <c:v>0</c:v>
                </c:pt>
                <c:pt idx="710">
                  <c:v>0.35468539405499999</c:v>
                </c:pt>
                <c:pt idx="711">
                  <c:v>1.0645734786350001</c:v>
                </c:pt>
                <c:pt idx="712">
                  <c:v>0.35505437657700001</c:v>
                </c:pt>
                <c:pt idx="713">
                  <c:v>0.35523600103699998</c:v>
                </c:pt>
                <c:pt idx="714">
                  <c:v>0</c:v>
                </c:pt>
                <c:pt idx="715">
                  <c:v>0</c:v>
                </c:pt>
                <c:pt idx="716">
                  <c:v>0</c:v>
                </c:pt>
                <c:pt idx="717">
                  <c:v>0.35547592894699998</c:v>
                </c:pt>
                <c:pt idx="718">
                  <c:v>0.35559601447900002</c:v>
                </c:pt>
                <c:pt idx="719">
                  <c:v>0.35572630418099999</c:v>
                </c:pt>
                <c:pt idx="720">
                  <c:v>0.355809840988</c:v>
                </c:pt>
                <c:pt idx="721">
                  <c:v>0.35581617113300001</c:v>
                </c:pt>
                <c:pt idx="722">
                  <c:v>0.35581617113300001</c:v>
                </c:pt>
                <c:pt idx="723">
                  <c:v>1.42356353542</c:v>
                </c:pt>
                <c:pt idx="724">
                  <c:v>0.35596309374599999</c:v>
                </c:pt>
                <c:pt idx="725">
                  <c:v>1.424308676176</c:v>
                </c:pt>
                <c:pt idx="726">
                  <c:v>0</c:v>
                </c:pt>
                <c:pt idx="727">
                  <c:v>0.35629411366399999</c:v>
                </c:pt>
                <c:pt idx="728">
                  <c:v>0</c:v>
                </c:pt>
                <c:pt idx="729">
                  <c:v>0.71258822732899996</c:v>
                </c:pt>
                <c:pt idx="730">
                  <c:v>0</c:v>
                </c:pt>
                <c:pt idx="731">
                  <c:v>0</c:v>
                </c:pt>
                <c:pt idx="732">
                  <c:v>0</c:v>
                </c:pt>
                <c:pt idx="733">
                  <c:v>0.35651894898199998</c:v>
                </c:pt>
                <c:pt idx="734">
                  <c:v>0</c:v>
                </c:pt>
                <c:pt idx="735">
                  <c:v>0</c:v>
                </c:pt>
                <c:pt idx="736">
                  <c:v>0</c:v>
                </c:pt>
                <c:pt idx="737">
                  <c:v>0</c:v>
                </c:pt>
                <c:pt idx="738">
                  <c:v>0</c:v>
                </c:pt>
                <c:pt idx="739">
                  <c:v>0.35662956530399997</c:v>
                </c:pt>
                <c:pt idx="740">
                  <c:v>0.35664610007399999</c:v>
                </c:pt>
                <c:pt idx="741">
                  <c:v>0.71329220014899997</c:v>
                </c:pt>
                <c:pt idx="742">
                  <c:v>0</c:v>
                </c:pt>
                <c:pt idx="743">
                  <c:v>0</c:v>
                </c:pt>
                <c:pt idx="744">
                  <c:v>0</c:v>
                </c:pt>
                <c:pt idx="745">
                  <c:v>0.35664737204300001</c:v>
                </c:pt>
                <c:pt idx="746">
                  <c:v>0</c:v>
                </c:pt>
                <c:pt idx="747">
                  <c:v>0</c:v>
                </c:pt>
                <c:pt idx="748">
                  <c:v>0.356668996904</c:v>
                </c:pt>
                <c:pt idx="749">
                  <c:v>0</c:v>
                </c:pt>
                <c:pt idx="750">
                  <c:v>0</c:v>
                </c:pt>
                <c:pt idx="751">
                  <c:v>0.35667662983300003</c:v>
                </c:pt>
                <c:pt idx="752">
                  <c:v>0.71337107066200001</c:v>
                </c:pt>
                <c:pt idx="753">
                  <c:v>0</c:v>
                </c:pt>
                <c:pt idx="754">
                  <c:v>0</c:v>
                </c:pt>
                <c:pt idx="755">
                  <c:v>0</c:v>
                </c:pt>
                <c:pt idx="756">
                  <c:v>0</c:v>
                </c:pt>
                <c:pt idx="757">
                  <c:v>0.35675806808299998</c:v>
                </c:pt>
                <c:pt idx="758">
                  <c:v>0</c:v>
                </c:pt>
                <c:pt idx="759">
                  <c:v>0</c:v>
                </c:pt>
                <c:pt idx="760">
                  <c:v>0</c:v>
                </c:pt>
                <c:pt idx="761">
                  <c:v>0</c:v>
                </c:pt>
                <c:pt idx="762">
                  <c:v>0</c:v>
                </c:pt>
                <c:pt idx="764">
                  <c:v>0</c:v>
                </c:pt>
                <c:pt idx="765">
                  <c:v>0.35690831739099999</c:v>
                </c:pt>
                <c:pt idx="766">
                  <c:v>0.35692105619999998</c:v>
                </c:pt>
                <c:pt idx="767">
                  <c:v>0</c:v>
                </c:pt>
                <c:pt idx="768">
                  <c:v>0</c:v>
                </c:pt>
                <c:pt idx="769">
                  <c:v>0</c:v>
                </c:pt>
                <c:pt idx="770">
                  <c:v>0</c:v>
                </c:pt>
                <c:pt idx="771">
                  <c:v>0.35697584344400002</c:v>
                </c:pt>
                <c:pt idx="772">
                  <c:v>0</c:v>
                </c:pt>
                <c:pt idx="773">
                  <c:v>0.71401795755099995</c:v>
                </c:pt>
                <c:pt idx="774">
                  <c:v>0</c:v>
                </c:pt>
                <c:pt idx="775">
                  <c:v>0.357033196946</c:v>
                </c:pt>
                <c:pt idx="776">
                  <c:v>0.357051044017</c:v>
                </c:pt>
                <c:pt idx="777">
                  <c:v>0</c:v>
                </c:pt>
                <c:pt idx="778">
                  <c:v>0</c:v>
                </c:pt>
                <c:pt idx="779">
                  <c:v>0</c:v>
                </c:pt>
                <c:pt idx="780">
                  <c:v>0</c:v>
                </c:pt>
                <c:pt idx="781">
                  <c:v>0.35708546840599997</c:v>
                </c:pt>
                <c:pt idx="782">
                  <c:v>0</c:v>
                </c:pt>
                <c:pt idx="783">
                  <c:v>0.71423469752099999</c:v>
                </c:pt>
                <c:pt idx="784">
                  <c:v>0.35711734876000001</c:v>
                </c:pt>
                <c:pt idx="785">
                  <c:v>0.35711734876000001</c:v>
                </c:pt>
                <c:pt idx="786">
                  <c:v>0</c:v>
                </c:pt>
                <c:pt idx="787">
                  <c:v>0</c:v>
                </c:pt>
                <c:pt idx="788">
                  <c:v>0.35714413265700001</c:v>
                </c:pt>
                <c:pt idx="789">
                  <c:v>0.357149234807</c:v>
                </c:pt>
                <c:pt idx="790">
                  <c:v>0.71431887909000003</c:v>
                </c:pt>
                <c:pt idx="791">
                  <c:v>0</c:v>
                </c:pt>
                <c:pt idx="79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EF0-41A2-ADBC-1FC75FE6D1E6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Ukončené očkování - s posilující dávkou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trendline>
            <c:spPr>
              <a:ln w="28575" cap="rnd" cmpd="sng">
                <a:solidFill>
                  <a:srgbClr val="70AD47"/>
                </a:solidFill>
                <a:prstDash val="solid"/>
              </a:ln>
              <a:effectLst/>
            </c:spPr>
            <c:trendlineType val="movingAvg"/>
            <c:period val="7"/>
            <c:dispRSqr val="0"/>
            <c:dispEq val="0"/>
          </c:trendline>
          <c:cat>
            <c:numRef>
              <c:f>List1!$A$2:$A$794</c:f>
              <c:numCache>
                <c:formatCode>m/d/yyyy</c:formatCode>
                <c:ptCount val="793"/>
                <c:pt idx="0">
                  <c:v>44191</c:v>
                </c:pt>
                <c:pt idx="1">
                  <c:v>44192</c:v>
                </c:pt>
                <c:pt idx="2">
                  <c:v>44193</c:v>
                </c:pt>
                <c:pt idx="3">
                  <c:v>44194</c:v>
                </c:pt>
                <c:pt idx="4">
                  <c:v>44195</c:v>
                </c:pt>
                <c:pt idx="5">
                  <c:v>44196</c:v>
                </c:pt>
                <c:pt idx="6">
                  <c:v>44197</c:v>
                </c:pt>
                <c:pt idx="7">
                  <c:v>44198</c:v>
                </c:pt>
                <c:pt idx="8">
                  <c:v>44199</c:v>
                </c:pt>
                <c:pt idx="9">
                  <c:v>44200</c:v>
                </c:pt>
                <c:pt idx="10">
                  <c:v>44201</c:v>
                </c:pt>
                <c:pt idx="11">
                  <c:v>44202</c:v>
                </c:pt>
                <c:pt idx="12">
                  <c:v>44203</c:v>
                </c:pt>
                <c:pt idx="13">
                  <c:v>44204</c:v>
                </c:pt>
                <c:pt idx="14">
                  <c:v>44205</c:v>
                </c:pt>
                <c:pt idx="15">
                  <c:v>44206</c:v>
                </c:pt>
                <c:pt idx="16">
                  <c:v>44207</c:v>
                </c:pt>
                <c:pt idx="17">
                  <c:v>44208</c:v>
                </c:pt>
                <c:pt idx="18">
                  <c:v>44209</c:v>
                </c:pt>
                <c:pt idx="19">
                  <c:v>44210</c:v>
                </c:pt>
                <c:pt idx="20">
                  <c:v>44211</c:v>
                </c:pt>
                <c:pt idx="21">
                  <c:v>44212</c:v>
                </c:pt>
                <c:pt idx="22">
                  <c:v>44213</c:v>
                </c:pt>
                <c:pt idx="23">
                  <c:v>44214</c:v>
                </c:pt>
                <c:pt idx="24">
                  <c:v>44215</c:v>
                </c:pt>
                <c:pt idx="25">
                  <c:v>44216</c:v>
                </c:pt>
                <c:pt idx="26">
                  <c:v>44217</c:v>
                </c:pt>
                <c:pt idx="27">
                  <c:v>44218</c:v>
                </c:pt>
                <c:pt idx="28">
                  <c:v>44219</c:v>
                </c:pt>
                <c:pt idx="29">
                  <c:v>44220</c:v>
                </c:pt>
                <c:pt idx="30">
                  <c:v>44221</c:v>
                </c:pt>
                <c:pt idx="31">
                  <c:v>44222</c:v>
                </c:pt>
                <c:pt idx="32">
                  <c:v>44223</c:v>
                </c:pt>
                <c:pt idx="33">
                  <c:v>44224</c:v>
                </c:pt>
                <c:pt idx="34">
                  <c:v>44225</c:v>
                </c:pt>
                <c:pt idx="35">
                  <c:v>44226</c:v>
                </c:pt>
                <c:pt idx="36">
                  <c:v>44227</c:v>
                </c:pt>
                <c:pt idx="37">
                  <c:v>44228</c:v>
                </c:pt>
                <c:pt idx="38">
                  <c:v>44229</c:v>
                </c:pt>
                <c:pt idx="39">
                  <c:v>44230</c:v>
                </c:pt>
                <c:pt idx="40">
                  <c:v>44231</c:v>
                </c:pt>
                <c:pt idx="41">
                  <c:v>44232</c:v>
                </c:pt>
                <c:pt idx="42">
                  <c:v>44233</c:v>
                </c:pt>
                <c:pt idx="43">
                  <c:v>44234</c:v>
                </c:pt>
                <c:pt idx="44">
                  <c:v>44235</c:v>
                </c:pt>
                <c:pt idx="45">
                  <c:v>44236</c:v>
                </c:pt>
                <c:pt idx="46">
                  <c:v>44237</c:v>
                </c:pt>
                <c:pt idx="47">
                  <c:v>44238</c:v>
                </c:pt>
                <c:pt idx="48">
                  <c:v>44239</c:v>
                </c:pt>
                <c:pt idx="49">
                  <c:v>44240</c:v>
                </c:pt>
                <c:pt idx="50">
                  <c:v>44241</c:v>
                </c:pt>
                <c:pt idx="51">
                  <c:v>44242</c:v>
                </c:pt>
                <c:pt idx="52">
                  <c:v>44243</c:v>
                </c:pt>
                <c:pt idx="53">
                  <c:v>44244</c:v>
                </c:pt>
                <c:pt idx="54">
                  <c:v>44245</c:v>
                </c:pt>
                <c:pt idx="55">
                  <c:v>44246</c:v>
                </c:pt>
                <c:pt idx="56">
                  <c:v>44247</c:v>
                </c:pt>
                <c:pt idx="57">
                  <c:v>44248</c:v>
                </c:pt>
                <c:pt idx="58">
                  <c:v>44249</c:v>
                </c:pt>
                <c:pt idx="59">
                  <c:v>44250</c:v>
                </c:pt>
                <c:pt idx="60">
                  <c:v>44251</c:v>
                </c:pt>
                <c:pt idx="61">
                  <c:v>44252</c:v>
                </c:pt>
                <c:pt idx="62">
                  <c:v>44253</c:v>
                </c:pt>
                <c:pt idx="63">
                  <c:v>44254</c:v>
                </c:pt>
                <c:pt idx="64">
                  <c:v>44255</c:v>
                </c:pt>
                <c:pt idx="65">
                  <c:v>44256</c:v>
                </c:pt>
                <c:pt idx="66">
                  <c:v>44257</c:v>
                </c:pt>
                <c:pt idx="67">
                  <c:v>44258</c:v>
                </c:pt>
                <c:pt idx="68">
                  <c:v>44259</c:v>
                </c:pt>
                <c:pt idx="69">
                  <c:v>44260</c:v>
                </c:pt>
                <c:pt idx="70">
                  <c:v>44261</c:v>
                </c:pt>
                <c:pt idx="71">
                  <c:v>44262</c:v>
                </c:pt>
                <c:pt idx="72">
                  <c:v>44263</c:v>
                </c:pt>
                <c:pt idx="73">
                  <c:v>44264</c:v>
                </c:pt>
                <c:pt idx="74">
                  <c:v>44265</c:v>
                </c:pt>
                <c:pt idx="75">
                  <c:v>44266</c:v>
                </c:pt>
                <c:pt idx="76">
                  <c:v>44267</c:v>
                </c:pt>
                <c:pt idx="77">
                  <c:v>44268</c:v>
                </c:pt>
                <c:pt idx="78">
                  <c:v>44269</c:v>
                </c:pt>
                <c:pt idx="79">
                  <c:v>44270</c:v>
                </c:pt>
                <c:pt idx="80">
                  <c:v>44271</c:v>
                </c:pt>
                <c:pt idx="81">
                  <c:v>44272</c:v>
                </c:pt>
                <c:pt idx="82">
                  <c:v>44273</c:v>
                </c:pt>
                <c:pt idx="83">
                  <c:v>44274</c:v>
                </c:pt>
                <c:pt idx="84">
                  <c:v>44275</c:v>
                </c:pt>
                <c:pt idx="85">
                  <c:v>44276</c:v>
                </c:pt>
                <c:pt idx="86">
                  <c:v>44277</c:v>
                </c:pt>
                <c:pt idx="87">
                  <c:v>44278</c:v>
                </c:pt>
                <c:pt idx="88">
                  <c:v>44279</c:v>
                </c:pt>
                <c:pt idx="89">
                  <c:v>44280</c:v>
                </c:pt>
                <c:pt idx="90">
                  <c:v>44281</c:v>
                </c:pt>
                <c:pt idx="91">
                  <c:v>44282</c:v>
                </c:pt>
                <c:pt idx="92">
                  <c:v>44283</c:v>
                </c:pt>
                <c:pt idx="93">
                  <c:v>44284</c:v>
                </c:pt>
                <c:pt idx="94">
                  <c:v>44285</c:v>
                </c:pt>
                <c:pt idx="95">
                  <c:v>44286</c:v>
                </c:pt>
                <c:pt idx="96">
                  <c:v>44287</c:v>
                </c:pt>
                <c:pt idx="97">
                  <c:v>44288</c:v>
                </c:pt>
                <c:pt idx="98">
                  <c:v>44289</c:v>
                </c:pt>
                <c:pt idx="99">
                  <c:v>44290</c:v>
                </c:pt>
                <c:pt idx="100">
                  <c:v>44291</c:v>
                </c:pt>
                <c:pt idx="101">
                  <c:v>44292</c:v>
                </c:pt>
                <c:pt idx="102">
                  <c:v>44293</c:v>
                </c:pt>
                <c:pt idx="103">
                  <c:v>44294</c:v>
                </c:pt>
                <c:pt idx="104">
                  <c:v>44295</c:v>
                </c:pt>
                <c:pt idx="105">
                  <c:v>44296</c:v>
                </c:pt>
                <c:pt idx="106">
                  <c:v>44297</c:v>
                </c:pt>
                <c:pt idx="107">
                  <c:v>44298</c:v>
                </c:pt>
                <c:pt idx="108">
                  <c:v>44299</c:v>
                </c:pt>
                <c:pt idx="109">
                  <c:v>44300</c:v>
                </c:pt>
                <c:pt idx="110">
                  <c:v>44301</c:v>
                </c:pt>
                <c:pt idx="111">
                  <c:v>44302</c:v>
                </c:pt>
                <c:pt idx="112">
                  <c:v>44303</c:v>
                </c:pt>
                <c:pt idx="113">
                  <c:v>44304</c:v>
                </c:pt>
                <c:pt idx="114">
                  <c:v>44305</c:v>
                </c:pt>
                <c:pt idx="115">
                  <c:v>44306</c:v>
                </c:pt>
                <c:pt idx="116">
                  <c:v>44307</c:v>
                </c:pt>
                <c:pt idx="117">
                  <c:v>44308</c:v>
                </c:pt>
                <c:pt idx="118">
                  <c:v>44309</c:v>
                </c:pt>
                <c:pt idx="119">
                  <c:v>44310</c:v>
                </c:pt>
                <c:pt idx="120">
                  <c:v>44311</c:v>
                </c:pt>
                <c:pt idx="121">
                  <c:v>44312</c:v>
                </c:pt>
                <c:pt idx="122">
                  <c:v>44313</c:v>
                </c:pt>
                <c:pt idx="123">
                  <c:v>44314</c:v>
                </c:pt>
                <c:pt idx="124">
                  <c:v>44315</c:v>
                </c:pt>
                <c:pt idx="125">
                  <c:v>44316</c:v>
                </c:pt>
                <c:pt idx="126">
                  <c:v>44317</c:v>
                </c:pt>
                <c:pt idx="127">
                  <c:v>44318</c:v>
                </c:pt>
                <c:pt idx="128">
                  <c:v>44319</c:v>
                </c:pt>
                <c:pt idx="129">
                  <c:v>44320</c:v>
                </c:pt>
                <c:pt idx="130">
                  <c:v>44321</c:v>
                </c:pt>
                <c:pt idx="131">
                  <c:v>44322</c:v>
                </c:pt>
                <c:pt idx="132">
                  <c:v>44323</c:v>
                </c:pt>
                <c:pt idx="133">
                  <c:v>44324</c:v>
                </c:pt>
                <c:pt idx="134">
                  <c:v>44325</c:v>
                </c:pt>
                <c:pt idx="135">
                  <c:v>44326</c:v>
                </c:pt>
                <c:pt idx="136">
                  <c:v>44327</c:v>
                </c:pt>
                <c:pt idx="137">
                  <c:v>44328</c:v>
                </c:pt>
                <c:pt idx="138">
                  <c:v>44329</c:v>
                </c:pt>
                <c:pt idx="139">
                  <c:v>44330</c:v>
                </c:pt>
                <c:pt idx="140">
                  <c:v>44331</c:v>
                </c:pt>
                <c:pt idx="141">
                  <c:v>44332</c:v>
                </c:pt>
                <c:pt idx="142">
                  <c:v>44333</c:v>
                </c:pt>
                <c:pt idx="143">
                  <c:v>44334</c:v>
                </c:pt>
                <c:pt idx="144">
                  <c:v>44335</c:v>
                </c:pt>
                <c:pt idx="145">
                  <c:v>44336</c:v>
                </c:pt>
                <c:pt idx="146">
                  <c:v>44337</c:v>
                </c:pt>
                <c:pt idx="147">
                  <c:v>44338</c:v>
                </c:pt>
                <c:pt idx="148">
                  <c:v>44339</c:v>
                </c:pt>
                <c:pt idx="149">
                  <c:v>44340</c:v>
                </c:pt>
                <c:pt idx="150">
                  <c:v>44341</c:v>
                </c:pt>
                <c:pt idx="151">
                  <c:v>44342</c:v>
                </c:pt>
                <c:pt idx="152">
                  <c:v>44343</c:v>
                </c:pt>
                <c:pt idx="153">
                  <c:v>44344</c:v>
                </c:pt>
                <c:pt idx="154">
                  <c:v>44345</c:v>
                </c:pt>
                <c:pt idx="155">
                  <c:v>44346</c:v>
                </c:pt>
                <c:pt idx="156">
                  <c:v>44347</c:v>
                </c:pt>
                <c:pt idx="157">
                  <c:v>44348</c:v>
                </c:pt>
                <c:pt idx="158">
                  <c:v>44349</c:v>
                </c:pt>
                <c:pt idx="159">
                  <c:v>44350</c:v>
                </c:pt>
                <c:pt idx="160">
                  <c:v>44351</c:v>
                </c:pt>
                <c:pt idx="161">
                  <c:v>44352</c:v>
                </c:pt>
                <c:pt idx="162">
                  <c:v>44353</c:v>
                </c:pt>
                <c:pt idx="163">
                  <c:v>44354</c:v>
                </c:pt>
                <c:pt idx="164">
                  <c:v>44355</c:v>
                </c:pt>
                <c:pt idx="165">
                  <c:v>44356</c:v>
                </c:pt>
                <c:pt idx="166">
                  <c:v>44357</c:v>
                </c:pt>
                <c:pt idx="167">
                  <c:v>44358</c:v>
                </c:pt>
                <c:pt idx="168">
                  <c:v>44359</c:v>
                </c:pt>
                <c:pt idx="169">
                  <c:v>44360</c:v>
                </c:pt>
                <c:pt idx="170">
                  <c:v>44361</c:v>
                </c:pt>
                <c:pt idx="171">
                  <c:v>44362</c:v>
                </c:pt>
                <c:pt idx="172">
                  <c:v>44363</c:v>
                </c:pt>
                <c:pt idx="173">
                  <c:v>44364</c:v>
                </c:pt>
                <c:pt idx="174">
                  <c:v>44365</c:v>
                </c:pt>
                <c:pt idx="175">
                  <c:v>44366</c:v>
                </c:pt>
                <c:pt idx="176">
                  <c:v>44367</c:v>
                </c:pt>
                <c:pt idx="177">
                  <c:v>44368</c:v>
                </c:pt>
                <c:pt idx="178">
                  <c:v>44369</c:v>
                </c:pt>
                <c:pt idx="179">
                  <c:v>44370</c:v>
                </c:pt>
                <c:pt idx="180">
                  <c:v>44371</c:v>
                </c:pt>
                <c:pt idx="181">
                  <c:v>44372</c:v>
                </c:pt>
                <c:pt idx="182">
                  <c:v>44373</c:v>
                </c:pt>
                <c:pt idx="183">
                  <c:v>44374</c:v>
                </c:pt>
                <c:pt idx="184">
                  <c:v>44375</c:v>
                </c:pt>
                <c:pt idx="185">
                  <c:v>44376</c:v>
                </c:pt>
                <c:pt idx="186">
                  <c:v>44377</c:v>
                </c:pt>
                <c:pt idx="187">
                  <c:v>44378</c:v>
                </c:pt>
                <c:pt idx="188">
                  <c:v>44379</c:v>
                </c:pt>
                <c:pt idx="189">
                  <c:v>44380</c:v>
                </c:pt>
                <c:pt idx="190">
                  <c:v>44381</c:v>
                </c:pt>
                <c:pt idx="191">
                  <c:v>44382</c:v>
                </c:pt>
                <c:pt idx="192">
                  <c:v>44383</c:v>
                </c:pt>
                <c:pt idx="193">
                  <c:v>44384</c:v>
                </c:pt>
                <c:pt idx="194">
                  <c:v>44385</c:v>
                </c:pt>
                <c:pt idx="195">
                  <c:v>44386</c:v>
                </c:pt>
                <c:pt idx="196">
                  <c:v>44387</c:v>
                </c:pt>
                <c:pt idx="197">
                  <c:v>44388</c:v>
                </c:pt>
                <c:pt idx="198">
                  <c:v>44389</c:v>
                </c:pt>
                <c:pt idx="199">
                  <c:v>44390</c:v>
                </c:pt>
                <c:pt idx="200">
                  <c:v>44391</c:v>
                </c:pt>
                <c:pt idx="201">
                  <c:v>44392</c:v>
                </c:pt>
                <c:pt idx="202">
                  <c:v>44393</c:v>
                </c:pt>
                <c:pt idx="203">
                  <c:v>44394</c:v>
                </c:pt>
                <c:pt idx="204">
                  <c:v>44395</c:v>
                </c:pt>
                <c:pt idx="205">
                  <c:v>44396</c:v>
                </c:pt>
                <c:pt idx="206">
                  <c:v>44397</c:v>
                </c:pt>
                <c:pt idx="207">
                  <c:v>44398</c:v>
                </c:pt>
                <c:pt idx="208">
                  <c:v>44399</c:v>
                </c:pt>
                <c:pt idx="209">
                  <c:v>44400</c:v>
                </c:pt>
                <c:pt idx="210">
                  <c:v>44401</c:v>
                </c:pt>
                <c:pt idx="211">
                  <c:v>44402</c:v>
                </c:pt>
                <c:pt idx="212">
                  <c:v>44403</c:v>
                </c:pt>
                <c:pt idx="213">
                  <c:v>44404</c:v>
                </c:pt>
                <c:pt idx="214">
                  <c:v>44405</c:v>
                </c:pt>
                <c:pt idx="215">
                  <c:v>44406</c:v>
                </c:pt>
                <c:pt idx="216">
                  <c:v>44407</c:v>
                </c:pt>
                <c:pt idx="217">
                  <c:v>44408</c:v>
                </c:pt>
                <c:pt idx="218">
                  <c:v>44409</c:v>
                </c:pt>
                <c:pt idx="219">
                  <c:v>44410</c:v>
                </c:pt>
                <c:pt idx="220">
                  <c:v>44411</c:v>
                </c:pt>
                <c:pt idx="221">
                  <c:v>44412</c:v>
                </c:pt>
                <c:pt idx="222">
                  <c:v>44413</c:v>
                </c:pt>
                <c:pt idx="223">
                  <c:v>44414</c:v>
                </c:pt>
                <c:pt idx="224">
                  <c:v>44415</c:v>
                </c:pt>
                <c:pt idx="225">
                  <c:v>44416</c:v>
                </c:pt>
                <c:pt idx="226">
                  <c:v>44417</c:v>
                </c:pt>
                <c:pt idx="227">
                  <c:v>44418</c:v>
                </c:pt>
                <c:pt idx="228">
                  <c:v>44419</c:v>
                </c:pt>
                <c:pt idx="229">
                  <c:v>44420</c:v>
                </c:pt>
                <c:pt idx="230">
                  <c:v>44421</c:v>
                </c:pt>
                <c:pt idx="231">
                  <c:v>44422</c:v>
                </c:pt>
                <c:pt idx="232">
                  <c:v>44423</c:v>
                </c:pt>
                <c:pt idx="233">
                  <c:v>44424</c:v>
                </c:pt>
                <c:pt idx="234">
                  <c:v>44425</c:v>
                </c:pt>
                <c:pt idx="235">
                  <c:v>44426</c:v>
                </c:pt>
                <c:pt idx="236">
                  <c:v>44427</c:v>
                </c:pt>
                <c:pt idx="237">
                  <c:v>44428</c:v>
                </c:pt>
                <c:pt idx="238">
                  <c:v>44429</c:v>
                </c:pt>
                <c:pt idx="239">
                  <c:v>44430</c:v>
                </c:pt>
                <c:pt idx="240">
                  <c:v>44431</c:v>
                </c:pt>
                <c:pt idx="241">
                  <c:v>44432</c:v>
                </c:pt>
                <c:pt idx="242">
                  <c:v>44433</c:v>
                </c:pt>
                <c:pt idx="243">
                  <c:v>44434</c:v>
                </c:pt>
                <c:pt idx="244">
                  <c:v>44435</c:v>
                </c:pt>
                <c:pt idx="245">
                  <c:v>44436</c:v>
                </c:pt>
                <c:pt idx="246">
                  <c:v>44437</c:v>
                </c:pt>
                <c:pt idx="247">
                  <c:v>44438</c:v>
                </c:pt>
                <c:pt idx="248">
                  <c:v>44439</c:v>
                </c:pt>
                <c:pt idx="249">
                  <c:v>44440</c:v>
                </c:pt>
                <c:pt idx="250">
                  <c:v>44441</c:v>
                </c:pt>
                <c:pt idx="251">
                  <c:v>44442</c:v>
                </c:pt>
                <c:pt idx="252">
                  <c:v>44443</c:v>
                </c:pt>
                <c:pt idx="253">
                  <c:v>44444</c:v>
                </c:pt>
                <c:pt idx="254">
                  <c:v>44445</c:v>
                </c:pt>
                <c:pt idx="255">
                  <c:v>44446</c:v>
                </c:pt>
                <c:pt idx="256">
                  <c:v>44447</c:v>
                </c:pt>
                <c:pt idx="257">
                  <c:v>44448</c:v>
                </c:pt>
                <c:pt idx="258">
                  <c:v>44449</c:v>
                </c:pt>
                <c:pt idx="259">
                  <c:v>44450</c:v>
                </c:pt>
                <c:pt idx="260">
                  <c:v>44451</c:v>
                </c:pt>
                <c:pt idx="261">
                  <c:v>44452</c:v>
                </c:pt>
                <c:pt idx="262">
                  <c:v>44453</c:v>
                </c:pt>
                <c:pt idx="263">
                  <c:v>44454</c:v>
                </c:pt>
                <c:pt idx="264">
                  <c:v>44455</c:v>
                </c:pt>
                <c:pt idx="265">
                  <c:v>44456</c:v>
                </c:pt>
                <c:pt idx="266">
                  <c:v>44457</c:v>
                </c:pt>
                <c:pt idx="267">
                  <c:v>44458</c:v>
                </c:pt>
                <c:pt idx="268">
                  <c:v>44459</c:v>
                </c:pt>
                <c:pt idx="269">
                  <c:v>44460</c:v>
                </c:pt>
                <c:pt idx="270">
                  <c:v>44461</c:v>
                </c:pt>
                <c:pt idx="271">
                  <c:v>44462</c:v>
                </c:pt>
                <c:pt idx="272">
                  <c:v>44463</c:v>
                </c:pt>
                <c:pt idx="273">
                  <c:v>44464</c:v>
                </c:pt>
                <c:pt idx="274">
                  <c:v>44465</c:v>
                </c:pt>
                <c:pt idx="275">
                  <c:v>44466</c:v>
                </c:pt>
                <c:pt idx="276">
                  <c:v>44467</c:v>
                </c:pt>
                <c:pt idx="277">
                  <c:v>44468</c:v>
                </c:pt>
                <c:pt idx="278">
                  <c:v>44469</c:v>
                </c:pt>
                <c:pt idx="279">
                  <c:v>44470</c:v>
                </c:pt>
                <c:pt idx="280">
                  <c:v>44471</c:v>
                </c:pt>
                <c:pt idx="281">
                  <c:v>44472</c:v>
                </c:pt>
                <c:pt idx="282">
                  <c:v>44473</c:v>
                </c:pt>
                <c:pt idx="283">
                  <c:v>44474</c:v>
                </c:pt>
                <c:pt idx="284">
                  <c:v>44475</c:v>
                </c:pt>
                <c:pt idx="285">
                  <c:v>44476</c:v>
                </c:pt>
                <c:pt idx="286">
                  <c:v>44477</c:v>
                </c:pt>
                <c:pt idx="287">
                  <c:v>44478</c:v>
                </c:pt>
                <c:pt idx="288">
                  <c:v>44479</c:v>
                </c:pt>
                <c:pt idx="289">
                  <c:v>44480</c:v>
                </c:pt>
                <c:pt idx="290">
                  <c:v>44481</c:v>
                </c:pt>
                <c:pt idx="291">
                  <c:v>44482</c:v>
                </c:pt>
                <c:pt idx="292">
                  <c:v>44483</c:v>
                </c:pt>
                <c:pt idx="293">
                  <c:v>44484</c:v>
                </c:pt>
                <c:pt idx="294">
                  <c:v>44485</c:v>
                </c:pt>
                <c:pt idx="295">
                  <c:v>44486</c:v>
                </c:pt>
                <c:pt idx="296">
                  <c:v>44487</c:v>
                </c:pt>
                <c:pt idx="297">
                  <c:v>44488</c:v>
                </c:pt>
                <c:pt idx="298">
                  <c:v>44489</c:v>
                </c:pt>
                <c:pt idx="299">
                  <c:v>44490</c:v>
                </c:pt>
                <c:pt idx="300">
                  <c:v>44491</c:v>
                </c:pt>
                <c:pt idx="301">
                  <c:v>44492</c:v>
                </c:pt>
                <c:pt idx="302">
                  <c:v>44493</c:v>
                </c:pt>
                <c:pt idx="303">
                  <c:v>44494</c:v>
                </c:pt>
                <c:pt idx="304">
                  <c:v>44495</c:v>
                </c:pt>
                <c:pt idx="305">
                  <c:v>44496</c:v>
                </c:pt>
                <c:pt idx="306">
                  <c:v>44497</c:v>
                </c:pt>
                <c:pt idx="307">
                  <c:v>44498</c:v>
                </c:pt>
                <c:pt idx="308">
                  <c:v>44499</c:v>
                </c:pt>
                <c:pt idx="309">
                  <c:v>44500</c:v>
                </c:pt>
                <c:pt idx="310">
                  <c:v>44501</c:v>
                </c:pt>
                <c:pt idx="311">
                  <c:v>44502</c:v>
                </c:pt>
                <c:pt idx="312">
                  <c:v>44503</c:v>
                </c:pt>
                <c:pt idx="313">
                  <c:v>44504</c:v>
                </c:pt>
                <c:pt idx="314">
                  <c:v>44505</c:v>
                </c:pt>
                <c:pt idx="315">
                  <c:v>44506</c:v>
                </c:pt>
                <c:pt idx="316">
                  <c:v>44507</c:v>
                </c:pt>
                <c:pt idx="317">
                  <c:v>44508</c:v>
                </c:pt>
                <c:pt idx="318">
                  <c:v>44509</c:v>
                </c:pt>
                <c:pt idx="319">
                  <c:v>44510</c:v>
                </c:pt>
                <c:pt idx="320">
                  <c:v>44511</c:v>
                </c:pt>
                <c:pt idx="321">
                  <c:v>44512</c:v>
                </c:pt>
                <c:pt idx="322">
                  <c:v>44513</c:v>
                </c:pt>
                <c:pt idx="323">
                  <c:v>44514</c:v>
                </c:pt>
                <c:pt idx="324">
                  <c:v>44515</c:v>
                </c:pt>
                <c:pt idx="325">
                  <c:v>44516</c:v>
                </c:pt>
                <c:pt idx="326">
                  <c:v>44517</c:v>
                </c:pt>
                <c:pt idx="327">
                  <c:v>44518</c:v>
                </c:pt>
                <c:pt idx="328">
                  <c:v>44519</c:v>
                </c:pt>
                <c:pt idx="329">
                  <c:v>44520</c:v>
                </c:pt>
                <c:pt idx="330">
                  <c:v>44521</c:v>
                </c:pt>
                <c:pt idx="331">
                  <c:v>44522</c:v>
                </c:pt>
                <c:pt idx="332">
                  <c:v>44523</c:v>
                </c:pt>
                <c:pt idx="333">
                  <c:v>44524</c:v>
                </c:pt>
                <c:pt idx="334">
                  <c:v>44525</c:v>
                </c:pt>
                <c:pt idx="335">
                  <c:v>44526</c:v>
                </c:pt>
                <c:pt idx="336">
                  <c:v>44527</c:v>
                </c:pt>
                <c:pt idx="337">
                  <c:v>44528</c:v>
                </c:pt>
                <c:pt idx="338">
                  <c:v>44529</c:v>
                </c:pt>
                <c:pt idx="339">
                  <c:v>44530</c:v>
                </c:pt>
                <c:pt idx="340">
                  <c:v>44531</c:v>
                </c:pt>
                <c:pt idx="341">
                  <c:v>44532</c:v>
                </c:pt>
                <c:pt idx="342">
                  <c:v>44533</c:v>
                </c:pt>
                <c:pt idx="343">
                  <c:v>44534</c:v>
                </c:pt>
                <c:pt idx="344">
                  <c:v>44535</c:v>
                </c:pt>
                <c:pt idx="345">
                  <c:v>44536</c:v>
                </c:pt>
                <c:pt idx="346">
                  <c:v>44537</c:v>
                </c:pt>
                <c:pt idx="347">
                  <c:v>44538</c:v>
                </c:pt>
                <c:pt idx="348">
                  <c:v>44539</c:v>
                </c:pt>
                <c:pt idx="349">
                  <c:v>44540</c:v>
                </c:pt>
                <c:pt idx="350">
                  <c:v>44541</c:v>
                </c:pt>
                <c:pt idx="351">
                  <c:v>44542</c:v>
                </c:pt>
                <c:pt idx="352">
                  <c:v>44543</c:v>
                </c:pt>
                <c:pt idx="353">
                  <c:v>44544</c:v>
                </c:pt>
                <c:pt idx="354">
                  <c:v>44545</c:v>
                </c:pt>
                <c:pt idx="355">
                  <c:v>44546</c:v>
                </c:pt>
                <c:pt idx="356">
                  <c:v>44547</c:v>
                </c:pt>
                <c:pt idx="357">
                  <c:v>44548</c:v>
                </c:pt>
                <c:pt idx="358">
                  <c:v>44549</c:v>
                </c:pt>
                <c:pt idx="359">
                  <c:v>44550</c:v>
                </c:pt>
                <c:pt idx="360">
                  <c:v>44551</c:v>
                </c:pt>
                <c:pt idx="361">
                  <c:v>44552</c:v>
                </c:pt>
                <c:pt idx="362">
                  <c:v>44553</c:v>
                </c:pt>
                <c:pt idx="363">
                  <c:v>44554</c:v>
                </c:pt>
                <c:pt idx="364">
                  <c:v>44555</c:v>
                </c:pt>
                <c:pt idx="365">
                  <c:v>44556</c:v>
                </c:pt>
                <c:pt idx="366">
                  <c:v>44557</c:v>
                </c:pt>
                <c:pt idx="367">
                  <c:v>44558</c:v>
                </c:pt>
                <c:pt idx="368">
                  <c:v>44559</c:v>
                </c:pt>
                <c:pt idx="369">
                  <c:v>44560</c:v>
                </c:pt>
                <c:pt idx="370">
                  <c:v>44561</c:v>
                </c:pt>
                <c:pt idx="371">
                  <c:v>44562</c:v>
                </c:pt>
                <c:pt idx="372">
                  <c:v>44563</c:v>
                </c:pt>
                <c:pt idx="373">
                  <c:v>44564</c:v>
                </c:pt>
                <c:pt idx="374">
                  <c:v>44565</c:v>
                </c:pt>
                <c:pt idx="375">
                  <c:v>44566</c:v>
                </c:pt>
                <c:pt idx="376">
                  <c:v>44567</c:v>
                </c:pt>
                <c:pt idx="377">
                  <c:v>44568</c:v>
                </c:pt>
                <c:pt idx="378">
                  <c:v>44569</c:v>
                </c:pt>
                <c:pt idx="379">
                  <c:v>44570</c:v>
                </c:pt>
                <c:pt idx="380">
                  <c:v>44571</c:v>
                </c:pt>
                <c:pt idx="381">
                  <c:v>44572</c:v>
                </c:pt>
                <c:pt idx="382">
                  <c:v>44573</c:v>
                </c:pt>
                <c:pt idx="383">
                  <c:v>44574</c:v>
                </c:pt>
                <c:pt idx="384">
                  <c:v>44575</c:v>
                </c:pt>
                <c:pt idx="385">
                  <c:v>44576</c:v>
                </c:pt>
                <c:pt idx="386">
                  <c:v>44577</c:v>
                </c:pt>
                <c:pt idx="387">
                  <c:v>44578</c:v>
                </c:pt>
                <c:pt idx="388">
                  <c:v>44579</c:v>
                </c:pt>
                <c:pt idx="389">
                  <c:v>44580</c:v>
                </c:pt>
                <c:pt idx="390">
                  <c:v>44581</c:v>
                </c:pt>
                <c:pt idx="391">
                  <c:v>44582</c:v>
                </c:pt>
                <c:pt idx="392">
                  <c:v>44583</c:v>
                </c:pt>
                <c:pt idx="393">
                  <c:v>44584</c:v>
                </c:pt>
                <c:pt idx="394">
                  <c:v>44585</c:v>
                </c:pt>
                <c:pt idx="395">
                  <c:v>44586</c:v>
                </c:pt>
                <c:pt idx="396">
                  <c:v>44587</c:v>
                </c:pt>
                <c:pt idx="397">
                  <c:v>44588</c:v>
                </c:pt>
                <c:pt idx="398">
                  <c:v>44589</c:v>
                </c:pt>
                <c:pt idx="399">
                  <c:v>44590</c:v>
                </c:pt>
                <c:pt idx="400">
                  <c:v>44591</c:v>
                </c:pt>
                <c:pt idx="401">
                  <c:v>44592</c:v>
                </c:pt>
                <c:pt idx="402">
                  <c:v>44593</c:v>
                </c:pt>
                <c:pt idx="403">
                  <c:v>44594</c:v>
                </c:pt>
                <c:pt idx="404">
                  <c:v>44595</c:v>
                </c:pt>
                <c:pt idx="405">
                  <c:v>44596</c:v>
                </c:pt>
                <c:pt idx="406">
                  <c:v>44597</c:v>
                </c:pt>
                <c:pt idx="407">
                  <c:v>44598</c:v>
                </c:pt>
                <c:pt idx="408">
                  <c:v>44599</c:v>
                </c:pt>
                <c:pt idx="409">
                  <c:v>44600</c:v>
                </c:pt>
                <c:pt idx="410">
                  <c:v>44601</c:v>
                </c:pt>
                <c:pt idx="411">
                  <c:v>44602</c:v>
                </c:pt>
                <c:pt idx="412">
                  <c:v>44603</c:v>
                </c:pt>
                <c:pt idx="413">
                  <c:v>44604</c:v>
                </c:pt>
                <c:pt idx="414">
                  <c:v>44605</c:v>
                </c:pt>
                <c:pt idx="415">
                  <c:v>44606</c:v>
                </c:pt>
                <c:pt idx="416">
                  <c:v>44607</c:v>
                </c:pt>
                <c:pt idx="417">
                  <c:v>44608</c:v>
                </c:pt>
                <c:pt idx="418">
                  <c:v>44609</c:v>
                </c:pt>
                <c:pt idx="419">
                  <c:v>44610</c:v>
                </c:pt>
                <c:pt idx="420">
                  <c:v>44611</c:v>
                </c:pt>
                <c:pt idx="421">
                  <c:v>44612</c:v>
                </c:pt>
                <c:pt idx="422">
                  <c:v>44613</c:v>
                </c:pt>
                <c:pt idx="423">
                  <c:v>44614</c:v>
                </c:pt>
                <c:pt idx="424">
                  <c:v>44615</c:v>
                </c:pt>
                <c:pt idx="425">
                  <c:v>44616</c:v>
                </c:pt>
                <c:pt idx="426">
                  <c:v>44617</c:v>
                </c:pt>
                <c:pt idx="427">
                  <c:v>44618</c:v>
                </c:pt>
                <c:pt idx="428">
                  <c:v>44619</c:v>
                </c:pt>
                <c:pt idx="429">
                  <c:v>44620</c:v>
                </c:pt>
                <c:pt idx="430">
                  <c:v>44621</c:v>
                </c:pt>
                <c:pt idx="431">
                  <c:v>44622</c:v>
                </c:pt>
                <c:pt idx="432">
                  <c:v>44623</c:v>
                </c:pt>
                <c:pt idx="433">
                  <c:v>44624</c:v>
                </c:pt>
                <c:pt idx="434">
                  <c:v>44625</c:v>
                </c:pt>
                <c:pt idx="435">
                  <c:v>44626</c:v>
                </c:pt>
                <c:pt idx="436">
                  <c:v>44627</c:v>
                </c:pt>
                <c:pt idx="437">
                  <c:v>44628</c:v>
                </c:pt>
                <c:pt idx="438">
                  <c:v>44629</c:v>
                </c:pt>
                <c:pt idx="439">
                  <c:v>44630</c:v>
                </c:pt>
                <c:pt idx="440">
                  <c:v>44631</c:v>
                </c:pt>
                <c:pt idx="441">
                  <c:v>44632</c:v>
                </c:pt>
                <c:pt idx="442">
                  <c:v>44633</c:v>
                </c:pt>
                <c:pt idx="443">
                  <c:v>44634</c:v>
                </c:pt>
                <c:pt idx="444">
                  <c:v>44635</c:v>
                </c:pt>
                <c:pt idx="445">
                  <c:v>44636</c:v>
                </c:pt>
                <c:pt idx="446">
                  <c:v>44637</c:v>
                </c:pt>
                <c:pt idx="447">
                  <c:v>44638</c:v>
                </c:pt>
                <c:pt idx="448">
                  <c:v>44639</c:v>
                </c:pt>
                <c:pt idx="449">
                  <c:v>44640</c:v>
                </c:pt>
                <c:pt idx="450">
                  <c:v>44641</c:v>
                </c:pt>
                <c:pt idx="451">
                  <c:v>44642</c:v>
                </c:pt>
                <c:pt idx="452">
                  <c:v>44643</c:v>
                </c:pt>
                <c:pt idx="453">
                  <c:v>44644</c:v>
                </c:pt>
                <c:pt idx="454">
                  <c:v>44645</c:v>
                </c:pt>
                <c:pt idx="455">
                  <c:v>44646</c:v>
                </c:pt>
                <c:pt idx="456">
                  <c:v>44647</c:v>
                </c:pt>
                <c:pt idx="457">
                  <c:v>44648</c:v>
                </c:pt>
                <c:pt idx="458">
                  <c:v>44649</c:v>
                </c:pt>
                <c:pt idx="459">
                  <c:v>44650</c:v>
                </c:pt>
                <c:pt idx="460">
                  <c:v>44651</c:v>
                </c:pt>
                <c:pt idx="461">
                  <c:v>44652</c:v>
                </c:pt>
                <c:pt idx="462">
                  <c:v>44653</c:v>
                </c:pt>
                <c:pt idx="463">
                  <c:v>44654</c:v>
                </c:pt>
                <c:pt idx="464">
                  <c:v>44655</c:v>
                </c:pt>
                <c:pt idx="465">
                  <c:v>44656</c:v>
                </c:pt>
                <c:pt idx="466">
                  <c:v>44657</c:v>
                </c:pt>
                <c:pt idx="467">
                  <c:v>44658</c:v>
                </c:pt>
                <c:pt idx="468">
                  <c:v>44659</c:v>
                </c:pt>
                <c:pt idx="469">
                  <c:v>44660</c:v>
                </c:pt>
                <c:pt idx="470">
                  <c:v>44661</c:v>
                </c:pt>
                <c:pt idx="471">
                  <c:v>44662</c:v>
                </c:pt>
                <c:pt idx="472">
                  <c:v>44663</c:v>
                </c:pt>
                <c:pt idx="473">
                  <c:v>44664</c:v>
                </c:pt>
                <c:pt idx="474">
                  <c:v>44665</c:v>
                </c:pt>
                <c:pt idx="475">
                  <c:v>44666</c:v>
                </c:pt>
                <c:pt idx="476">
                  <c:v>44667</c:v>
                </c:pt>
                <c:pt idx="477">
                  <c:v>44668</c:v>
                </c:pt>
                <c:pt idx="478">
                  <c:v>44669</c:v>
                </c:pt>
                <c:pt idx="479">
                  <c:v>44670</c:v>
                </c:pt>
                <c:pt idx="480">
                  <c:v>44671</c:v>
                </c:pt>
                <c:pt idx="481">
                  <c:v>44672</c:v>
                </c:pt>
                <c:pt idx="482">
                  <c:v>44673</c:v>
                </c:pt>
                <c:pt idx="483">
                  <c:v>44674</c:v>
                </c:pt>
                <c:pt idx="484">
                  <c:v>44675</c:v>
                </c:pt>
                <c:pt idx="485">
                  <c:v>44676</c:v>
                </c:pt>
                <c:pt idx="486">
                  <c:v>44677</c:v>
                </c:pt>
                <c:pt idx="487">
                  <c:v>44678</c:v>
                </c:pt>
                <c:pt idx="488">
                  <c:v>44679</c:v>
                </c:pt>
                <c:pt idx="489">
                  <c:v>44680</c:v>
                </c:pt>
                <c:pt idx="490">
                  <c:v>44681</c:v>
                </c:pt>
                <c:pt idx="491">
                  <c:v>44682</c:v>
                </c:pt>
                <c:pt idx="492">
                  <c:v>44683</c:v>
                </c:pt>
                <c:pt idx="493">
                  <c:v>44684</c:v>
                </c:pt>
                <c:pt idx="494">
                  <c:v>44685</c:v>
                </c:pt>
                <c:pt idx="495">
                  <c:v>44686</c:v>
                </c:pt>
                <c:pt idx="496">
                  <c:v>44687</c:v>
                </c:pt>
                <c:pt idx="497">
                  <c:v>44688</c:v>
                </c:pt>
                <c:pt idx="498">
                  <c:v>44689</c:v>
                </c:pt>
                <c:pt idx="499">
                  <c:v>44690</c:v>
                </c:pt>
                <c:pt idx="500">
                  <c:v>44691</c:v>
                </c:pt>
                <c:pt idx="501">
                  <c:v>44692</c:v>
                </c:pt>
                <c:pt idx="502">
                  <c:v>44693</c:v>
                </c:pt>
                <c:pt idx="503">
                  <c:v>44694</c:v>
                </c:pt>
                <c:pt idx="504">
                  <c:v>44695</c:v>
                </c:pt>
                <c:pt idx="505">
                  <c:v>44696</c:v>
                </c:pt>
                <c:pt idx="506">
                  <c:v>44697</c:v>
                </c:pt>
                <c:pt idx="507">
                  <c:v>44698</c:v>
                </c:pt>
                <c:pt idx="508">
                  <c:v>44699</c:v>
                </c:pt>
                <c:pt idx="509">
                  <c:v>44700</c:v>
                </c:pt>
                <c:pt idx="510">
                  <c:v>44701</c:v>
                </c:pt>
                <c:pt idx="511">
                  <c:v>44702</c:v>
                </c:pt>
                <c:pt idx="512">
                  <c:v>44703</c:v>
                </c:pt>
                <c:pt idx="513">
                  <c:v>44704</c:v>
                </c:pt>
                <c:pt idx="514">
                  <c:v>44705</c:v>
                </c:pt>
                <c:pt idx="515">
                  <c:v>44706</c:v>
                </c:pt>
                <c:pt idx="516">
                  <c:v>44707</c:v>
                </c:pt>
                <c:pt idx="517">
                  <c:v>44708</c:v>
                </c:pt>
                <c:pt idx="518">
                  <c:v>44709</c:v>
                </c:pt>
                <c:pt idx="519">
                  <c:v>44710</c:v>
                </c:pt>
                <c:pt idx="520">
                  <c:v>44711</c:v>
                </c:pt>
                <c:pt idx="521">
                  <c:v>44712</c:v>
                </c:pt>
                <c:pt idx="522">
                  <c:v>44713</c:v>
                </c:pt>
                <c:pt idx="523">
                  <c:v>44714</c:v>
                </c:pt>
                <c:pt idx="524">
                  <c:v>44715</c:v>
                </c:pt>
                <c:pt idx="525">
                  <c:v>44716</c:v>
                </c:pt>
                <c:pt idx="526">
                  <c:v>44717</c:v>
                </c:pt>
                <c:pt idx="527">
                  <c:v>44718</c:v>
                </c:pt>
                <c:pt idx="528">
                  <c:v>44719</c:v>
                </c:pt>
                <c:pt idx="529">
                  <c:v>44720</c:v>
                </c:pt>
                <c:pt idx="530">
                  <c:v>44721</c:v>
                </c:pt>
                <c:pt idx="531">
                  <c:v>44722</c:v>
                </c:pt>
                <c:pt idx="532">
                  <c:v>44723</c:v>
                </c:pt>
                <c:pt idx="533">
                  <c:v>44724</c:v>
                </c:pt>
                <c:pt idx="534">
                  <c:v>44725</c:v>
                </c:pt>
                <c:pt idx="535">
                  <c:v>44726</c:v>
                </c:pt>
                <c:pt idx="536">
                  <c:v>44727</c:v>
                </c:pt>
                <c:pt idx="537">
                  <c:v>44728</c:v>
                </c:pt>
                <c:pt idx="538">
                  <c:v>44729</c:v>
                </c:pt>
                <c:pt idx="539">
                  <c:v>44730</c:v>
                </c:pt>
                <c:pt idx="540">
                  <c:v>44731</c:v>
                </c:pt>
                <c:pt idx="541">
                  <c:v>44732</c:v>
                </c:pt>
                <c:pt idx="542">
                  <c:v>44733</c:v>
                </c:pt>
                <c:pt idx="543">
                  <c:v>44734</c:v>
                </c:pt>
                <c:pt idx="544">
                  <c:v>44735</c:v>
                </c:pt>
                <c:pt idx="545">
                  <c:v>44736</c:v>
                </c:pt>
                <c:pt idx="546">
                  <c:v>44737</c:v>
                </c:pt>
                <c:pt idx="547">
                  <c:v>44738</c:v>
                </c:pt>
                <c:pt idx="548">
                  <c:v>44739</c:v>
                </c:pt>
                <c:pt idx="549">
                  <c:v>44740</c:v>
                </c:pt>
                <c:pt idx="550">
                  <c:v>44741</c:v>
                </c:pt>
                <c:pt idx="551">
                  <c:v>44742</c:v>
                </c:pt>
                <c:pt idx="552">
                  <c:v>44743</c:v>
                </c:pt>
                <c:pt idx="553">
                  <c:v>44744</c:v>
                </c:pt>
                <c:pt idx="554">
                  <c:v>44745</c:v>
                </c:pt>
                <c:pt idx="555">
                  <c:v>44746</c:v>
                </c:pt>
                <c:pt idx="556">
                  <c:v>44747</c:v>
                </c:pt>
                <c:pt idx="557">
                  <c:v>44748</c:v>
                </c:pt>
                <c:pt idx="558">
                  <c:v>44749</c:v>
                </c:pt>
                <c:pt idx="559">
                  <c:v>44750</c:v>
                </c:pt>
                <c:pt idx="560">
                  <c:v>44751</c:v>
                </c:pt>
                <c:pt idx="561">
                  <c:v>44752</c:v>
                </c:pt>
                <c:pt idx="562">
                  <c:v>44753</c:v>
                </c:pt>
                <c:pt idx="563">
                  <c:v>44754</c:v>
                </c:pt>
                <c:pt idx="564">
                  <c:v>44755</c:v>
                </c:pt>
                <c:pt idx="565">
                  <c:v>44756</c:v>
                </c:pt>
                <c:pt idx="566">
                  <c:v>44757</c:v>
                </c:pt>
                <c:pt idx="567">
                  <c:v>44758</c:v>
                </c:pt>
                <c:pt idx="568">
                  <c:v>44759</c:v>
                </c:pt>
                <c:pt idx="569">
                  <c:v>44760</c:v>
                </c:pt>
                <c:pt idx="570">
                  <c:v>44761</c:v>
                </c:pt>
                <c:pt idx="571">
                  <c:v>44762</c:v>
                </c:pt>
                <c:pt idx="572">
                  <c:v>44763</c:v>
                </c:pt>
                <c:pt idx="573">
                  <c:v>44764</c:v>
                </c:pt>
                <c:pt idx="574">
                  <c:v>44765</c:v>
                </c:pt>
                <c:pt idx="575">
                  <c:v>44766</c:v>
                </c:pt>
                <c:pt idx="576">
                  <c:v>44767</c:v>
                </c:pt>
                <c:pt idx="577">
                  <c:v>44768</c:v>
                </c:pt>
                <c:pt idx="578">
                  <c:v>44769</c:v>
                </c:pt>
                <c:pt idx="579">
                  <c:v>44770</c:v>
                </c:pt>
                <c:pt idx="580">
                  <c:v>44771</c:v>
                </c:pt>
                <c:pt idx="581">
                  <c:v>44772</c:v>
                </c:pt>
                <c:pt idx="582">
                  <c:v>44773</c:v>
                </c:pt>
                <c:pt idx="583">
                  <c:v>44774</c:v>
                </c:pt>
                <c:pt idx="584">
                  <c:v>44775</c:v>
                </c:pt>
                <c:pt idx="585">
                  <c:v>44776</c:v>
                </c:pt>
                <c:pt idx="586">
                  <c:v>44777</c:v>
                </c:pt>
                <c:pt idx="587">
                  <c:v>44778</c:v>
                </c:pt>
                <c:pt idx="588">
                  <c:v>44779</c:v>
                </c:pt>
                <c:pt idx="589">
                  <c:v>44780</c:v>
                </c:pt>
                <c:pt idx="590">
                  <c:v>44781</c:v>
                </c:pt>
                <c:pt idx="591">
                  <c:v>44782</c:v>
                </c:pt>
                <c:pt idx="592">
                  <c:v>44783</c:v>
                </c:pt>
                <c:pt idx="593">
                  <c:v>44784</c:v>
                </c:pt>
                <c:pt idx="594">
                  <c:v>44785</c:v>
                </c:pt>
                <c:pt idx="595">
                  <c:v>44786</c:v>
                </c:pt>
                <c:pt idx="596">
                  <c:v>44787</c:v>
                </c:pt>
                <c:pt idx="597">
                  <c:v>44788</c:v>
                </c:pt>
                <c:pt idx="598">
                  <c:v>44789</c:v>
                </c:pt>
                <c:pt idx="599">
                  <c:v>44790</c:v>
                </c:pt>
                <c:pt idx="600">
                  <c:v>44791</c:v>
                </c:pt>
                <c:pt idx="601">
                  <c:v>44792</c:v>
                </c:pt>
                <c:pt idx="602">
                  <c:v>44793</c:v>
                </c:pt>
                <c:pt idx="603">
                  <c:v>44794</c:v>
                </c:pt>
                <c:pt idx="604">
                  <c:v>44795</c:v>
                </c:pt>
                <c:pt idx="605">
                  <c:v>44796</c:v>
                </c:pt>
                <c:pt idx="606">
                  <c:v>44797</c:v>
                </c:pt>
                <c:pt idx="607">
                  <c:v>44798</c:v>
                </c:pt>
                <c:pt idx="608">
                  <c:v>44799</c:v>
                </c:pt>
                <c:pt idx="609">
                  <c:v>44800</c:v>
                </c:pt>
                <c:pt idx="610">
                  <c:v>44801</c:v>
                </c:pt>
                <c:pt idx="611">
                  <c:v>44802</c:v>
                </c:pt>
                <c:pt idx="612">
                  <c:v>44803</c:v>
                </c:pt>
                <c:pt idx="613">
                  <c:v>44804</c:v>
                </c:pt>
                <c:pt idx="614">
                  <c:v>44805</c:v>
                </c:pt>
                <c:pt idx="615">
                  <c:v>44806</c:v>
                </c:pt>
                <c:pt idx="616">
                  <c:v>44807</c:v>
                </c:pt>
                <c:pt idx="617">
                  <c:v>44808</c:v>
                </c:pt>
                <c:pt idx="618">
                  <c:v>44809</c:v>
                </c:pt>
                <c:pt idx="619">
                  <c:v>44810</c:v>
                </c:pt>
                <c:pt idx="620">
                  <c:v>44811</c:v>
                </c:pt>
                <c:pt idx="621">
                  <c:v>44812</c:v>
                </c:pt>
                <c:pt idx="622">
                  <c:v>44813</c:v>
                </c:pt>
                <c:pt idx="623">
                  <c:v>44814</c:v>
                </c:pt>
                <c:pt idx="624">
                  <c:v>44815</c:v>
                </c:pt>
                <c:pt idx="625">
                  <c:v>44816</c:v>
                </c:pt>
                <c:pt idx="626">
                  <c:v>44817</c:v>
                </c:pt>
                <c:pt idx="627">
                  <c:v>44818</c:v>
                </c:pt>
                <c:pt idx="628">
                  <c:v>44819</c:v>
                </c:pt>
                <c:pt idx="629">
                  <c:v>44820</c:v>
                </c:pt>
                <c:pt idx="630">
                  <c:v>44821</c:v>
                </c:pt>
                <c:pt idx="631">
                  <c:v>44822</c:v>
                </c:pt>
                <c:pt idx="632">
                  <c:v>44823</c:v>
                </c:pt>
                <c:pt idx="633">
                  <c:v>44824</c:v>
                </c:pt>
                <c:pt idx="634">
                  <c:v>44825</c:v>
                </c:pt>
                <c:pt idx="635">
                  <c:v>44826</c:v>
                </c:pt>
                <c:pt idx="636">
                  <c:v>44827</c:v>
                </c:pt>
                <c:pt idx="637">
                  <c:v>44828</c:v>
                </c:pt>
                <c:pt idx="638">
                  <c:v>44829</c:v>
                </c:pt>
                <c:pt idx="639">
                  <c:v>44830</c:v>
                </c:pt>
                <c:pt idx="640">
                  <c:v>44831</c:v>
                </c:pt>
                <c:pt idx="641">
                  <c:v>44832</c:v>
                </c:pt>
                <c:pt idx="642">
                  <c:v>44833</c:v>
                </c:pt>
                <c:pt idx="643">
                  <c:v>44834</c:v>
                </c:pt>
                <c:pt idx="644">
                  <c:v>44835</c:v>
                </c:pt>
                <c:pt idx="645">
                  <c:v>44836</c:v>
                </c:pt>
                <c:pt idx="646">
                  <c:v>44837</c:v>
                </c:pt>
                <c:pt idx="647">
                  <c:v>44838</c:v>
                </c:pt>
                <c:pt idx="648">
                  <c:v>44839</c:v>
                </c:pt>
                <c:pt idx="649">
                  <c:v>44840</c:v>
                </c:pt>
                <c:pt idx="650">
                  <c:v>44841</c:v>
                </c:pt>
                <c:pt idx="651">
                  <c:v>44842</c:v>
                </c:pt>
                <c:pt idx="652">
                  <c:v>44843</c:v>
                </c:pt>
                <c:pt idx="653">
                  <c:v>44844</c:v>
                </c:pt>
                <c:pt idx="654">
                  <c:v>44845</c:v>
                </c:pt>
                <c:pt idx="655">
                  <c:v>44846</c:v>
                </c:pt>
                <c:pt idx="656">
                  <c:v>44847</c:v>
                </c:pt>
                <c:pt idx="657">
                  <c:v>44848</c:v>
                </c:pt>
                <c:pt idx="658">
                  <c:v>44849</c:v>
                </c:pt>
                <c:pt idx="659">
                  <c:v>44850</c:v>
                </c:pt>
                <c:pt idx="660">
                  <c:v>44851</c:v>
                </c:pt>
                <c:pt idx="661">
                  <c:v>44852</c:v>
                </c:pt>
                <c:pt idx="662">
                  <c:v>44853</c:v>
                </c:pt>
                <c:pt idx="663">
                  <c:v>44854</c:v>
                </c:pt>
                <c:pt idx="664">
                  <c:v>44855</c:v>
                </c:pt>
                <c:pt idx="665">
                  <c:v>44856</c:v>
                </c:pt>
                <c:pt idx="666">
                  <c:v>44857</c:v>
                </c:pt>
                <c:pt idx="667">
                  <c:v>44858</c:v>
                </c:pt>
                <c:pt idx="668">
                  <c:v>44859</c:v>
                </c:pt>
                <c:pt idx="669">
                  <c:v>44860</c:v>
                </c:pt>
                <c:pt idx="670">
                  <c:v>44861</c:v>
                </c:pt>
                <c:pt idx="671">
                  <c:v>44862</c:v>
                </c:pt>
                <c:pt idx="672">
                  <c:v>44863</c:v>
                </c:pt>
                <c:pt idx="673">
                  <c:v>44864</c:v>
                </c:pt>
                <c:pt idx="674">
                  <c:v>44865</c:v>
                </c:pt>
                <c:pt idx="675">
                  <c:v>44866</c:v>
                </c:pt>
                <c:pt idx="676">
                  <c:v>44867</c:v>
                </c:pt>
                <c:pt idx="677">
                  <c:v>44868</c:v>
                </c:pt>
                <c:pt idx="678">
                  <c:v>44869</c:v>
                </c:pt>
                <c:pt idx="679">
                  <c:v>44870</c:v>
                </c:pt>
                <c:pt idx="680">
                  <c:v>44871</c:v>
                </c:pt>
                <c:pt idx="681">
                  <c:v>44872</c:v>
                </c:pt>
                <c:pt idx="682">
                  <c:v>44873</c:v>
                </c:pt>
                <c:pt idx="683">
                  <c:v>44874</c:v>
                </c:pt>
                <c:pt idx="684">
                  <c:v>44875</c:v>
                </c:pt>
                <c:pt idx="685">
                  <c:v>44876</c:v>
                </c:pt>
                <c:pt idx="686">
                  <c:v>44877</c:v>
                </c:pt>
                <c:pt idx="687">
                  <c:v>44878</c:v>
                </c:pt>
                <c:pt idx="688">
                  <c:v>44879</c:v>
                </c:pt>
                <c:pt idx="689">
                  <c:v>44880</c:v>
                </c:pt>
                <c:pt idx="690">
                  <c:v>44881</c:v>
                </c:pt>
                <c:pt idx="691">
                  <c:v>44882</c:v>
                </c:pt>
                <c:pt idx="692">
                  <c:v>44883</c:v>
                </c:pt>
                <c:pt idx="693">
                  <c:v>44884</c:v>
                </c:pt>
                <c:pt idx="694">
                  <c:v>44885</c:v>
                </c:pt>
                <c:pt idx="695">
                  <c:v>44886</c:v>
                </c:pt>
                <c:pt idx="696">
                  <c:v>44887</c:v>
                </c:pt>
                <c:pt idx="697">
                  <c:v>44888</c:v>
                </c:pt>
                <c:pt idx="698">
                  <c:v>44889</c:v>
                </c:pt>
                <c:pt idx="699">
                  <c:v>44890</c:v>
                </c:pt>
                <c:pt idx="700">
                  <c:v>44891</c:v>
                </c:pt>
                <c:pt idx="701">
                  <c:v>44892</c:v>
                </c:pt>
                <c:pt idx="702">
                  <c:v>44893</c:v>
                </c:pt>
                <c:pt idx="703">
                  <c:v>44894</c:v>
                </c:pt>
                <c:pt idx="704">
                  <c:v>44895</c:v>
                </c:pt>
                <c:pt idx="705">
                  <c:v>44896</c:v>
                </c:pt>
                <c:pt idx="706">
                  <c:v>44897</c:v>
                </c:pt>
                <c:pt idx="707">
                  <c:v>44898</c:v>
                </c:pt>
                <c:pt idx="708">
                  <c:v>44899</c:v>
                </c:pt>
                <c:pt idx="709">
                  <c:v>44900</c:v>
                </c:pt>
                <c:pt idx="710">
                  <c:v>44901</c:v>
                </c:pt>
                <c:pt idx="711">
                  <c:v>44902</c:v>
                </c:pt>
                <c:pt idx="712">
                  <c:v>44903</c:v>
                </c:pt>
                <c:pt idx="713">
                  <c:v>44904</c:v>
                </c:pt>
                <c:pt idx="714">
                  <c:v>44905</c:v>
                </c:pt>
                <c:pt idx="715">
                  <c:v>44906</c:v>
                </c:pt>
                <c:pt idx="716">
                  <c:v>44907</c:v>
                </c:pt>
                <c:pt idx="717">
                  <c:v>44908</c:v>
                </c:pt>
                <c:pt idx="718">
                  <c:v>44909</c:v>
                </c:pt>
                <c:pt idx="719">
                  <c:v>44910</c:v>
                </c:pt>
                <c:pt idx="720">
                  <c:v>44911</c:v>
                </c:pt>
                <c:pt idx="721">
                  <c:v>44912</c:v>
                </c:pt>
                <c:pt idx="722">
                  <c:v>44913</c:v>
                </c:pt>
                <c:pt idx="723">
                  <c:v>44914</c:v>
                </c:pt>
                <c:pt idx="724">
                  <c:v>44915</c:v>
                </c:pt>
                <c:pt idx="725">
                  <c:v>44916</c:v>
                </c:pt>
                <c:pt idx="726">
                  <c:v>44917</c:v>
                </c:pt>
                <c:pt idx="727">
                  <c:v>44918</c:v>
                </c:pt>
                <c:pt idx="728">
                  <c:v>44919</c:v>
                </c:pt>
                <c:pt idx="729">
                  <c:v>44920</c:v>
                </c:pt>
                <c:pt idx="730">
                  <c:v>44921</c:v>
                </c:pt>
                <c:pt idx="731">
                  <c:v>44922</c:v>
                </c:pt>
                <c:pt idx="732">
                  <c:v>44923</c:v>
                </c:pt>
                <c:pt idx="733">
                  <c:v>44924</c:v>
                </c:pt>
                <c:pt idx="734">
                  <c:v>44925</c:v>
                </c:pt>
                <c:pt idx="735">
                  <c:v>44926</c:v>
                </c:pt>
                <c:pt idx="736">
                  <c:v>44927</c:v>
                </c:pt>
                <c:pt idx="737">
                  <c:v>44928</c:v>
                </c:pt>
                <c:pt idx="738">
                  <c:v>44929</c:v>
                </c:pt>
                <c:pt idx="739">
                  <c:v>44930</c:v>
                </c:pt>
                <c:pt idx="740">
                  <c:v>44931</c:v>
                </c:pt>
                <c:pt idx="741">
                  <c:v>44932</c:v>
                </c:pt>
                <c:pt idx="742">
                  <c:v>44933</c:v>
                </c:pt>
                <c:pt idx="743">
                  <c:v>44934</c:v>
                </c:pt>
                <c:pt idx="744">
                  <c:v>44935</c:v>
                </c:pt>
                <c:pt idx="745">
                  <c:v>44936</c:v>
                </c:pt>
                <c:pt idx="746">
                  <c:v>44937</c:v>
                </c:pt>
                <c:pt idx="747">
                  <c:v>44938</c:v>
                </c:pt>
                <c:pt idx="748">
                  <c:v>44939</c:v>
                </c:pt>
                <c:pt idx="749">
                  <c:v>44940</c:v>
                </c:pt>
                <c:pt idx="750">
                  <c:v>44941</c:v>
                </c:pt>
                <c:pt idx="751">
                  <c:v>44942</c:v>
                </c:pt>
                <c:pt idx="752">
                  <c:v>44943</c:v>
                </c:pt>
                <c:pt idx="753">
                  <c:v>44944</c:v>
                </c:pt>
                <c:pt idx="754">
                  <c:v>44945</c:v>
                </c:pt>
                <c:pt idx="755">
                  <c:v>44946</c:v>
                </c:pt>
                <c:pt idx="756">
                  <c:v>44947</c:v>
                </c:pt>
                <c:pt idx="757">
                  <c:v>44948</c:v>
                </c:pt>
                <c:pt idx="758">
                  <c:v>44949</c:v>
                </c:pt>
                <c:pt idx="759">
                  <c:v>44950</c:v>
                </c:pt>
                <c:pt idx="760">
                  <c:v>44951</c:v>
                </c:pt>
                <c:pt idx="761">
                  <c:v>44952</c:v>
                </c:pt>
                <c:pt idx="762">
                  <c:v>44953</c:v>
                </c:pt>
                <c:pt idx="763">
                  <c:v>44954</c:v>
                </c:pt>
                <c:pt idx="764">
                  <c:v>44955</c:v>
                </c:pt>
                <c:pt idx="765">
                  <c:v>44956</c:v>
                </c:pt>
                <c:pt idx="766">
                  <c:v>44957</c:v>
                </c:pt>
                <c:pt idx="767">
                  <c:v>44958</c:v>
                </c:pt>
                <c:pt idx="768">
                  <c:v>44959</c:v>
                </c:pt>
                <c:pt idx="769">
                  <c:v>44960</c:v>
                </c:pt>
                <c:pt idx="770">
                  <c:v>44961</c:v>
                </c:pt>
                <c:pt idx="771">
                  <c:v>44962</c:v>
                </c:pt>
                <c:pt idx="772">
                  <c:v>44963</c:v>
                </c:pt>
                <c:pt idx="773">
                  <c:v>44964</c:v>
                </c:pt>
                <c:pt idx="774">
                  <c:v>44965</c:v>
                </c:pt>
                <c:pt idx="775">
                  <c:v>44966</c:v>
                </c:pt>
                <c:pt idx="776">
                  <c:v>44967</c:v>
                </c:pt>
                <c:pt idx="777">
                  <c:v>44968</c:v>
                </c:pt>
                <c:pt idx="778">
                  <c:v>44969</c:v>
                </c:pt>
                <c:pt idx="779">
                  <c:v>44970</c:v>
                </c:pt>
                <c:pt idx="780">
                  <c:v>44971</c:v>
                </c:pt>
                <c:pt idx="781">
                  <c:v>44972</c:v>
                </c:pt>
                <c:pt idx="782">
                  <c:v>44973</c:v>
                </c:pt>
                <c:pt idx="783">
                  <c:v>44974</c:v>
                </c:pt>
                <c:pt idx="784">
                  <c:v>44975</c:v>
                </c:pt>
                <c:pt idx="785">
                  <c:v>44976</c:v>
                </c:pt>
                <c:pt idx="786">
                  <c:v>44977</c:v>
                </c:pt>
                <c:pt idx="787">
                  <c:v>44978</c:v>
                </c:pt>
                <c:pt idx="788">
                  <c:v>44979</c:v>
                </c:pt>
                <c:pt idx="789">
                  <c:v>44980</c:v>
                </c:pt>
                <c:pt idx="790">
                  <c:v>44981</c:v>
                </c:pt>
                <c:pt idx="791">
                  <c:v>44982</c:v>
                </c:pt>
                <c:pt idx="792">
                  <c:v>44983</c:v>
                </c:pt>
              </c:numCache>
            </c:numRef>
          </c:cat>
          <c:val>
            <c:numRef>
              <c:f>List1!$D$2:$D$794</c:f>
              <c:numCache>
                <c:formatCode>General</c:formatCode>
                <c:ptCount val="79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0</c:v>
                </c:pt>
                <c:pt idx="65">
                  <c:v>0</c:v>
                </c:pt>
                <c:pt idx="66">
                  <c:v>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0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0</c:v>
                </c:pt>
                <c:pt idx="128">
                  <c:v>0</c:v>
                </c:pt>
                <c:pt idx="129">
                  <c:v>0</c:v>
                </c:pt>
                <c:pt idx="130">
                  <c:v>0</c:v>
                </c:pt>
                <c:pt idx="131">
                  <c:v>0</c:v>
                </c:pt>
                <c:pt idx="132">
                  <c:v>0</c:v>
                </c:pt>
                <c:pt idx="133">
                  <c:v>0</c:v>
                </c:pt>
                <c:pt idx="134">
                  <c:v>0</c:v>
                </c:pt>
                <c:pt idx="135">
                  <c:v>0</c:v>
                </c:pt>
                <c:pt idx="136">
                  <c:v>0</c:v>
                </c:pt>
                <c:pt idx="137">
                  <c:v>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0</c:v>
                </c:pt>
                <c:pt idx="152">
                  <c:v>0</c:v>
                </c:pt>
                <c:pt idx="153">
                  <c:v>0</c:v>
                </c:pt>
                <c:pt idx="154">
                  <c:v>0</c:v>
                </c:pt>
                <c:pt idx="155">
                  <c:v>0</c:v>
                </c:pt>
                <c:pt idx="156">
                  <c:v>0</c:v>
                </c:pt>
                <c:pt idx="157">
                  <c:v>0</c:v>
                </c:pt>
                <c:pt idx="158">
                  <c:v>0</c:v>
                </c:pt>
                <c:pt idx="159">
                  <c:v>0</c:v>
                </c:pt>
                <c:pt idx="160">
                  <c:v>0</c:v>
                </c:pt>
                <c:pt idx="161">
                  <c:v>0</c:v>
                </c:pt>
                <c:pt idx="162">
                  <c:v>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  <c:pt idx="168">
                  <c:v>0</c:v>
                </c:pt>
                <c:pt idx="169">
                  <c:v>0</c:v>
                </c:pt>
                <c:pt idx="170">
                  <c:v>0</c:v>
                </c:pt>
                <c:pt idx="171">
                  <c:v>0</c:v>
                </c:pt>
                <c:pt idx="172">
                  <c:v>0</c:v>
                </c:pt>
                <c:pt idx="173">
                  <c:v>0</c:v>
                </c:pt>
                <c:pt idx="174">
                  <c:v>0</c:v>
                </c:pt>
                <c:pt idx="175">
                  <c:v>0</c:v>
                </c:pt>
                <c:pt idx="176">
                  <c:v>0</c:v>
                </c:pt>
                <c:pt idx="177">
                  <c:v>0</c:v>
                </c:pt>
                <c:pt idx="178">
                  <c:v>0</c:v>
                </c:pt>
                <c:pt idx="179">
                  <c:v>0</c:v>
                </c:pt>
                <c:pt idx="180">
                  <c:v>0</c:v>
                </c:pt>
                <c:pt idx="181">
                  <c:v>0</c:v>
                </c:pt>
                <c:pt idx="182">
                  <c:v>0</c:v>
                </c:pt>
                <c:pt idx="183">
                  <c:v>0</c:v>
                </c:pt>
                <c:pt idx="184">
                  <c:v>0</c:v>
                </c:pt>
                <c:pt idx="185">
                  <c:v>0</c:v>
                </c:pt>
                <c:pt idx="186">
                  <c:v>0</c:v>
                </c:pt>
                <c:pt idx="187">
                  <c:v>0</c:v>
                </c:pt>
                <c:pt idx="188">
                  <c:v>0</c:v>
                </c:pt>
                <c:pt idx="189">
                  <c:v>0</c:v>
                </c:pt>
                <c:pt idx="190">
                  <c:v>0</c:v>
                </c:pt>
                <c:pt idx="191">
                  <c:v>0</c:v>
                </c:pt>
                <c:pt idx="192">
                  <c:v>0</c:v>
                </c:pt>
                <c:pt idx="193">
                  <c:v>0</c:v>
                </c:pt>
                <c:pt idx="194">
                  <c:v>0</c:v>
                </c:pt>
                <c:pt idx="195">
                  <c:v>0</c:v>
                </c:pt>
                <c:pt idx="196">
                  <c:v>0</c:v>
                </c:pt>
                <c:pt idx="197">
                  <c:v>0</c:v>
                </c:pt>
                <c:pt idx="198">
                  <c:v>0</c:v>
                </c:pt>
                <c:pt idx="199">
                  <c:v>0</c:v>
                </c:pt>
                <c:pt idx="200">
                  <c:v>0</c:v>
                </c:pt>
                <c:pt idx="201">
                  <c:v>0</c:v>
                </c:pt>
                <c:pt idx="202">
                  <c:v>0</c:v>
                </c:pt>
                <c:pt idx="203">
                  <c:v>0</c:v>
                </c:pt>
                <c:pt idx="204">
                  <c:v>0</c:v>
                </c:pt>
                <c:pt idx="205">
                  <c:v>0</c:v>
                </c:pt>
                <c:pt idx="206">
                  <c:v>0</c:v>
                </c:pt>
                <c:pt idx="207">
                  <c:v>0</c:v>
                </c:pt>
                <c:pt idx="208">
                  <c:v>0</c:v>
                </c:pt>
                <c:pt idx="209">
                  <c:v>0</c:v>
                </c:pt>
                <c:pt idx="210">
                  <c:v>0</c:v>
                </c:pt>
                <c:pt idx="211">
                  <c:v>0</c:v>
                </c:pt>
                <c:pt idx="212">
                  <c:v>0</c:v>
                </c:pt>
                <c:pt idx="213">
                  <c:v>0</c:v>
                </c:pt>
                <c:pt idx="214">
                  <c:v>0</c:v>
                </c:pt>
                <c:pt idx="215">
                  <c:v>0</c:v>
                </c:pt>
                <c:pt idx="216">
                  <c:v>0</c:v>
                </c:pt>
                <c:pt idx="217">
                  <c:v>0</c:v>
                </c:pt>
                <c:pt idx="218">
                  <c:v>0</c:v>
                </c:pt>
                <c:pt idx="219">
                  <c:v>0</c:v>
                </c:pt>
                <c:pt idx="220">
                  <c:v>0</c:v>
                </c:pt>
                <c:pt idx="221">
                  <c:v>0</c:v>
                </c:pt>
                <c:pt idx="222">
                  <c:v>0</c:v>
                </c:pt>
                <c:pt idx="223">
                  <c:v>0</c:v>
                </c:pt>
                <c:pt idx="224">
                  <c:v>0</c:v>
                </c:pt>
                <c:pt idx="225">
                  <c:v>0</c:v>
                </c:pt>
                <c:pt idx="226">
                  <c:v>0</c:v>
                </c:pt>
                <c:pt idx="227">
                  <c:v>0</c:v>
                </c:pt>
                <c:pt idx="228">
                  <c:v>0</c:v>
                </c:pt>
                <c:pt idx="229">
                  <c:v>0</c:v>
                </c:pt>
                <c:pt idx="230">
                  <c:v>0</c:v>
                </c:pt>
                <c:pt idx="231">
                  <c:v>0</c:v>
                </c:pt>
                <c:pt idx="232">
                  <c:v>0</c:v>
                </c:pt>
                <c:pt idx="233">
                  <c:v>0</c:v>
                </c:pt>
                <c:pt idx="234">
                  <c:v>0</c:v>
                </c:pt>
                <c:pt idx="235">
                  <c:v>0</c:v>
                </c:pt>
                <c:pt idx="236">
                  <c:v>0</c:v>
                </c:pt>
                <c:pt idx="237">
                  <c:v>0</c:v>
                </c:pt>
                <c:pt idx="240">
                  <c:v>0</c:v>
                </c:pt>
                <c:pt idx="241">
                  <c:v>0</c:v>
                </c:pt>
                <c:pt idx="242">
                  <c:v>0</c:v>
                </c:pt>
                <c:pt idx="243">
                  <c:v>0</c:v>
                </c:pt>
                <c:pt idx="244">
                  <c:v>0</c:v>
                </c:pt>
                <c:pt idx="248">
                  <c:v>0</c:v>
                </c:pt>
                <c:pt idx="249">
                  <c:v>0</c:v>
                </c:pt>
                <c:pt idx="250">
                  <c:v>0</c:v>
                </c:pt>
                <c:pt idx="251">
                  <c:v>0</c:v>
                </c:pt>
                <c:pt idx="253">
                  <c:v>0</c:v>
                </c:pt>
                <c:pt idx="254">
                  <c:v>0</c:v>
                </c:pt>
                <c:pt idx="255">
                  <c:v>0</c:v>
                </c:pt>
                <c:pt idx="257">
                  <c:v>0</c:v>
                </c:pt>
                <c:pt idx="258">
                  <c:v>0</c:v>
                </c:pt>
                <c:pt idx="259">
                  <c:v>0</c:v>
                </c:pt>
                <c:pt idx="260">
                  <c:v>0</c:v>
                </c:pt>
                <c:pt idx="261">
                  <c:v>0</c:v>
                </c:pt>
                <c:pt idx="262">
                  <c:v>0</c:v>
                </c:pt>
                <c:pt idx="263">
                  <c:v>0</c:v>
                </c:pt>
                <c:pt idx="264">
                  <c:v>0</c:v>
                </c:pt>
                <c:pt idx="265">
                  <c:v>0</c:v>
                </c:pt>
                <c:pt idx="266">
                  <c:v>0</c:v>
                </c:pt>
                <c:pt idx="267">
                  <c:v>0</c:v>
                </c:pt>
                <c:pt idx="268">
                  <c:v>0</c:v>
                </c:pt>
                <c:pt idx="269">
                  <c:v>0</c:v>
                </c:pt>
                <c:pt idx="271">
                  <c:v>0</c:v>
                </c:pt>
                <c:pt idx="272">
                  <c:v>0</c:v>
                </c:pt>
                <c:pt idx="273">
                  <c:v>0</c:v>
                </c:pt>
                <c:pt idx="274">
                  <c:v>0</c:v>
                </c:pt>
                <c:pt idx="275">
                  <c:v>0</c:v>
                </c:pt>
                <c:pt idx="276">
                  <c:v>0</c:v>
                </c:pt>
                <c:pt idx="277">
                  <c:v>0</c:v>
                </c:pt>
                <c:pt idx="278">
                  <c:v>0</c:v>
                </c:pt>
                <c:pt idx="279">
                  <c:v>0</c:v>
                </c:pt>
                <c:pt idx="280">
                  <c:v>0</c:v>
                </c:pt>
                <c:pt idx="281">
                  <c:v>0</c:v>
                </c:pt>
                <c:pt idx="282">
                  <c:v>0</c:v>
                </c:pt>
                <c:pt idx="283">
                  <c:v>0</c:v>
                </c:pt>
                <c:pt idx="284">
                  <c:v>0</c:v>
                </c:pt>
                <c:pt idx="285">
                  <c:v>0</c:v>
                </c:pt>
                <c:pt idx="286">
                  <c:v>0</c:v>
                </c:pt>
                <c:pt idx="287">
                  <c:v>0</c:v>
                </c:pt>
                <c:pt idx="288">
                  <c:v>0</c:v>
                </c:pt>
                <c:pt idx="289">
                  <c:v>0</c:v>
                </c:pt>
                <c:pt idx="290">
                  <c:v>0</c:v>
                </c:pt>
                <c:pt idx="291">
                  <c:v>0</c:v>
                </c:pt>
                <c:pt idx="292">
                  <c:v>0</c:v>
                </c:pt>
                <c:pt idx="293">
                  <c:v>0</c:v>
                </c:pt>
                <c:pt idx="294">
                  <c:v>0</c:v>
                </c:pt>
                <c:pt idx="295">
                  <c:v>0</c:v>
                </c:pt>
                <c:pt idx="296">
                  <c:v>0</c:v>
                </c:pt>
                <c:pt idx="297">
                  <c:v>0</c:v>
                </c:pt>
                <c:pt idx="298">
                  <c:v>0</c:v>
                </c:pt>
                <c:pt idx="299">
                  <c:v>0</c:v>
                </c:pt>
                <c:pt idx="300">
                  <c:v>0</c:v>
                </c:pt>
                <c:pt idx="301">
                  <c:v>0</c:v>
                </c:pt>
                <c:pt idx="302">
                  <c:v>0</c:v>
                </c:pt>
                <c:pt idx="303">
                  <c:v>0</c:v>
                </c:pt>
                <c:pt idx="304">
                  <c:v>0</c:v>
                </c:pt>
                <c:pt idx="305">
                  <c:v>0</c:v>
                </c:pt>
                <c:pt idx="306">
                  <c:v>0</c:v>
                </c:pt>
                <c:pt idx="307">
                  <c:v>0</c:v>
                </c:pt>
                <c:pt idx="308">
                  <c:v>0</c:v>
                </c:pt>
                <c:pt idx="309">
                  <c:v>0</c:v>
                </c:pt>
                <c:pt idx="310">
                  <c:v>0</c:v>
                </c:pt>
                <c:pt idx="311">
                  <c:v>0</c:v>
                </c:pt>
                <c:pt idx="312">
                  <c:v>2.446543034691</c:v>
                </c:pt>
                <c:pt idx="313">
                  <c:v>0</c:v>
                </c:pt>
                <c:pt idx="314">
                  <c:v>0</c:v>
                </c:pt>
                <c:pt idx="315">
                  <c:v>0</c:v>
                </c:pt>
                <c:pt idx="316">
                  <c:v>0</c:v>
                </c:pt>
                <c:pt idx="317">
                  <c:v>0</c:v>
                </c:pt>
                <c:pt idx="318">
                  <c:v>0.97770825185700005</c:v>
                </c:pt>
                <c:pt idx="319">
                  <c:v>0</c:v>
                </c:pt>
                <c:pt idx="320">
                  <c:v>0.80749354005100005</c:v>
                </c:pt>
                <c:pt idx="321">
                  <c:v>0</c:v>
                </c:pt>
                <c:pt idx="322">
                  <c:v>0.71259584414099997</c:v>
                </c:pt>
                <c:pt idx="323">
                  <c:v>0</c:v>
                </c:pt>
                <c:pt idx="324">
                  <c:v>0</c:v>
                </c:pt>
                <c:pt idx="325">
                  <c:v>1.113071353439</c:v>
                </c:pt>
                <c:pt idx="326">
                  <c:v>0</c:v>
                </c:pt>
                <c:pt idx="327">
                  <c:v>0.442221544149</c:v>
                </c:pt>
                <c:pt idx="328">
                  <c:v>0.40593641411999998</c:v>
                </c:pt>
                <c:pt idx="329">
                  <c:v>1.193996585169</c:v>
                </c:pt>
                <c:pt idx="330">
                  <c:v>0.39260027010800003</c:v>
                </c:pt>
                <c:pt idx="331">
                  <c:v>0.36463214086399998</c:v>
                </c:pt>
                <c:pt idx="332">
                  <c:v>0.33804454751000002</c:v>
                </c:pt>
                <c:pt idx="333">
                  <c:v>0.62932067979200002</c:v>
                </c:pt>
                <c:pt idx="334">
                  <c:v>0</c:v>
                </c:pt>
                <c:pt idx="335">
                  <c:v>0</c:v>
                </c:pt>
                <c:pt idx="336">
                  <c:v>0.277622000988</c:v>
                </c:pt>
                <c:pt idx="337">
                  <c:v>0.55097936582200002</c:v>
                </c:pt>
                <c:pt idx="338">
                  <c:v>0.52627839600799997</c:v>
                </c:pt>
                <c:pt idx="339">
                  <c:v>0.50139764593799996</c:v>
                </c:pt>
                <c:pt idx="340">
                  <c:v>0</c:v>
                </c:pt>
                <c:pt idx="341">
                  <c:v>0.47519934612499998</c:v>
                </c:pt>
                <c:pt idx="342">
                  <c:v>0</c:v>
                </c:pt>
                <c:pt idx="343">
                  <c:v>0</c:v>
                </c:pt>
                <c:pt idx="344">
                  <c:v>0.45151517203800001</c:v>
                </c:pt>
                <c:pt idx="345">
                  <c:v>0.43536182921599997</c:v>
                </c:pt>
                <c:pt idx="346">
                  <c:v>0.20827215338800001</c:v>
                </c:pt>
                <c:pt idx="347">
                  <c:v>0</c:v>
                </c:pt>
                <c:pt idx="348">
                  <c:v>0.380963265617</c:v>
                </c:pt>
                <c:pt idx="349">
                  <c:v>0.366061688715</c:v>
                </c:pt>
                <c:pt idx="350">
                  <c:v>0.725751288662</c:v>
                </c:pt>
                <c:pt idx="351">
                  <c:v>0.35988699548300002</c:v>
                </c:pt>
                <c:pt idx="352">
                  <c:v>0.17155395286</c:v>
                </c:pt>
                <c:pt idx="353">
                  <c:v>0.16171756996700001</c:v>
                </c:pt>
                <c:pt idx="354">
                  <c:v>0</c:v>
                </c:pt>
                <c:pt idx="355">
                  <c:v>0.13983510644200001</c:v>
                </c:pt>
                <c:pt idx="356">
                  <c:v>0.52484759737800002</c:v>
                </c:pt>
                <c:pt idx="357">
                  <c:v>0.256825457566</c:v>
                </c:pt>
                <c:pt idx="358">
                  <c:v>0.25297306595699998</c:v>
                </c:pt>
                <c:pt idx="359">
                  <c:v>0.83825609202600004</c:v>
                </c:pt>
                <c:pt idx="360">
                  <c:v>0.56342535571800001</c:v>
                </c:pt>
                <c:pt idx="361">
                  <c:v>0.1061887888</c:v>
                </c:pt>
                <c:pt idx="362">
                  <c:v>0</c:v>
                </c:pt>
                <c:pt idx="363">
                  <c:v>0.19316616733200001</c:v>
                </c:pt>
                <c:pt idx="364">
                  <c:v>9.5323250674999999E-2</c:v>
                </c:pt>
                <c:pt idx="365">
                  <c:v>0.28388659676700001</c:v>
                </c:pt>
                <c:pt idx="366">
                  <c:v>0.36681599134300003</c:v>
                </c:pt>
                <c:pt idx="367">
                  <c:v>0.26543904059700002</c:v>
                </c:pt>
                <c:pt idx="368">
                  <c:v>0.25677325038900001</c:v>
                </c:pt>
                <c:pt idx="369">
                  <c:v>8.2990375606000005E-2</c:v>
                </c:pt>
                <c:pt idx="370">
                  <c:v>0.405227433897</c:v>
                </c:pt>
                <c:pt idx="371">
                  <c:v>0</c:v>
                </c:pt>
                <c:pt idx="372">
                  <c:v>0.16075283768900001</c:v>
                </c:pt>
                <c:pt idx="373">
                  <c:v>7.9022273217000005E-2</c:v>
                </c:pt>
                <c:pt idx="374">
                  <c:v>0.38842101419800001</c:v>
                </c:pt>
                <c:pt idx="375">
                  <c:v>0.23035813010600001</c:v>
                </c:pt>
                <c:pt idx="376">
                  <c:v>0.15304420222599999</c:v>
                </c:pt>
                <c:pt idx="377">
                  <c:v>0.15304104025000001</c:v>
                </c:pt>
                <c:pt idx="378">
                  <c:v>0.15304068892700001</c:v>
                </c:pt>
                <c:pt idx="379">
                  <c:v>7.6516363024E-2</c:v>
                </c:pt>
                <c:pt idx="380">
                  <c:v>0.456179059404</c:v>
                </c:pt>
                <c:pt idx="381">
                  <c:v>0.22628564187399999</c:v>
                </c:pt>
                <c:pt idx="382">
                  <c:v>0.14976909350000001</c:v>
                </c:pt>
                <c:pt idx="383">
                  <c:v>7.4512372406000005E-2</c:v>
                </c:pt>
                <c:pt idx="384">
                  <c:v>0.22330766287600001</c:v>
                </c:pt>
                <c:pt idx="385">
                  <c:v>0.14887088874400001</c:v>
                </c:pt>
                <c:pt idx="386">
                  <c:v>0</c:v>
                </c:pt>
                <c:pt idx="387">
                  <c:v>0.295634294465</c:v>
                </c:pt>
                <c:pt idx="388">
                  <c:v>0.292725693339</c:v>
                </c:pt>
                <c:pt idx="389">
                  <c:v>0.57911298711500003</c:v>
                </c:pt>
                <c:pt idx="390">
                  <c:v>0.28618546964800001</c:v>
                </c:pt>
                <c:pt idx="391">
                  <c:v>0.496071468307</c:v>
                </c:pt>
                <c:pt idx="392">
                  <c:v>0.565989413168</c:v>
                </c:pt>
                <c:pt idx="393">
                  <c:v>0.56552329637800003</c:v>
                </c:pt>
                <c:pt idx="394">
                  <c:v>0.35044657406899998</c:v>
                </c:pt>
                <c:pt idx="395">
                  <c:v>0.20803933330300001</c:v>
                </c:pt>
                <c:pt idx="396">
                  <c:v>0.48034925508100002</c:v>
                </c:pt>
                <c:pt idx="397">
                  <c:v>0.61186113199699999</c:v>
                </c:pt>
                <c:pt idx="398">
                  <c:v>0.53986643704299997</c:v>
                </c:pt>
                <c:pt idx="399">
                  <c:v>0.33703146727900002</c:v>
                </c:pt>
                <c:pt idx="400">
                  <c:v>0.80839491169199995</c:v>
                </c:pt>
                <c:pt idx="401">
                  <c:v>0.53606224754800003</c:v>
                </c:pt>
                <c:pt idx="402">
                  <c:v>0.53237080691399996</c:v>
                </c:pt>
                <c:pt idx="403">
                  <c:v>0.72782611572400002</c:v>
                </c:pt>
                <c:pt idx="404">
                  <c:v>0.46045421835200001</c:v>
                </c:pt>
                <c:pt idx="405">
                  <c:v>0.78577228319199999</c:v>
                </c:pt>
                <c:pt idx="406">
                  <c:v>1.2435083953170001</c:v>
                </c:pt>
                <c:pt idx="407">
                  <c:v>0.58888768930199997</c:v>
                </c:pt>
                <c:pt idx="408">
                  <c:v>0.78252363873399999</c:v>
                </c:pt>
                <c:pt idx="409">
                  <c:v>0.90928989006000005</c:v>
                </c:pt>
                <c:pt idx="410">
                  <c:v>1.2292714108339999</c:v>
                </c:pt>
                <c:pt idx="411">
                  <c:v>0.70903014344899995</c:v>
                </c:pt>
                <c:pt idx="412">
                  <c:v>0.899221081852</c:v>
                </c:pt>
                <c:pt idx="413">
                  <c:v>0.44939001725</c:v>
                </c:pt>
                <c:pt idx="414">
                  <c:v>0.385136058941</c:v>
                </c:pt>
                <c:pt idx="415">
                  <c:v>0.89667315046700002</c:v>
                </c:pt>
                <c:pt idx="416">
                  <c:v>0.89450810360400002</c:v>
                </c:pt>
                <c:pt idx="417">
                  <c:v>0.89249399797700002</c:v>
                </c:pt>
                <c:pt idx="418">
                  <c:v>0.95413534982399995</c:v>
                </c:pt>
                <c:pt idx="419">
                  <c:v>0.76171131141199999</c:v>
                </c:pt>
                <c:pt idx="420">
                  <c:v>0.88845791628600002</c:v>
                </c:pt>
                <c:pt idx="421">
                  <c:v>0.25382514493399999</c:v>
                </c:pt>
                <c:pt idx="422">
                  <c:v>1.0140952907309999</c:v>
                </c:pt>
                <c:pt idx="423">
                  <c:v>0.442989189798</c:v>
                </c:pt>
                <c:pt idx="424">
                  <c:v>1.07435890792</c:v>
                </c:pt>
                <c:pt idx="425">
                  <c:v>0.757218182322</c:v>
                </c:pt>
                <c:pt idx="426">
                  <c:v>0.56709131304299998</c:v>
                </c:pt>
                <c:pt idx="427">
                  <c:v>0.69302994582300004</c:v>
                </c:pt>
                <c:pt idx="428">
                  <c:v>0.692981046968</c:v>
                </c:pt>
                <c:pt idx="429">
                  <c:v>0.44064038897199997</c:v>
                </c:pt>
                <c:pt idx="430">
                  <c:v>0.56601530882700002</c:v>
                </c:pt>
                <c:pt idx="431">
                  <c:v>0.377004485725</c:v>
                </c:pt>
                <c:pt idx="432">
                  <c:v>0.43945005963900002</c:v>
                </c:pt>
                <c:pt idx="433">
                  <c:v>0.68979183336600003</c:v>
                </c:pt>
                <c:pt idx="434">
                  <c:v>0.31351441507900002</c:v>
                </c:pt>
                <c:pt idx="435">
                  <c:v>0.37621116481799999</c:v>
                </c:pt>
                <c:pt idx="436">
                  <c:v>0.37602183934799999</c:v>
                </c:pt>
                <c:pt idx="437">
                  <c:v>0.25051873034599997</c:v>
                </c:pt>
                <c:pt idx="438">
                  <c:v>1.0640608442499999</c:v>
                </c:pt>
                <c:pt idx="439">
                  <c:v>0.56296233281499997</c:v>
                </c:pt>
                <c:pt idx="440">
                  <c:v>0.43749917968899998</c:v>
                </c:pt>
                <c:pt idx="441">
                  <c:v>0.24998421974599999</c:v>
                </c:pt>
                <c:pt idx="442">
                  <c:v>0.37497023673699997</c:v>
                </c:pt>
                <c:pt idx="443">
                  <c:v>0.31233251168999998</c:v>
                </c:pt>
                <c:pt idx="444">
                  <c:v>0.56200789183900002</c:v>
                </c:pt>
                <c:pt idx="445">
                  <c:v>0.374532068996</c:v>
                </c:pt>
                <c:pt idx="446">
                  <c:v>1.0607663100610001</c:v>
                </c:pt>
                <c:pt idx="447">
                  <c:v>0.43653879613800001</c:v>
                </c:pt>
                <c:pt idx="448">
                  <c:v>0.311806425582</c:v>
                </c:pt>
                <c:pt idx="449">
                  <c:v>0.74832935471499995</c:v>
                </c:pt>
                <c:pt idx="450">
                  <c:v>0.498757470451</c:v>
                </c:pt>
                <c:pt idx="451">
                  <c:v>0.56097834623499998</c:v>
                </c:pt>
                <c:pt idx="452">
                  <c:v>0.37387720003300001</c:v>
                </c:pt>
                <c:pt idx="453">
                  <c:v>0.62294700029200001</c:v>
                </c:pt>
                <c:pt idx="454">
                  <c:v>0.74719986849200004</c:v>
                </c:pt>
                <c:pt idx="455">
                  <c:v>0.37358737274600001</c:v>
                </c:pt>
                <c:pt idx="456">
                  <c:v>0.37358388359099998</c:v>
                </c:pt>
                <c:pt idx="457">
                  <c:v>1.245011394966</c:v>
                </c:pt>
                <c:pt idx="458">
                  <c:v>0.74683528547699995</c:v>
                </c:pt>
                <c:pt idx="459">
                  <c:v>0.37332191797800002</c:v>
                </c:pt>
                <c:pt idx="460">
                  <c:v>0.43540786520699998</c:v>
                </c:pt>
                <c:pt idx="461">
                  <c:v>0.74607935299899997</c:v>
                </c:pt>
                <c:pt idx="462">
                  <c:v>0.62172583631400002</c:v>
                </c:pt>
                <c:pt idx="463">
                  <c:v>0.310862724885</c:v>
                </c:pt>
                <c:pt idx="464">
                  <c:v>0.49729224373199998</c:v>
                </c:pt>
                <c:pt idx="465">
                  <c:v>0.55933973052200003</c:v>
                </c:pt>
                <c:pt idx="466">
                  <c:v>0.62133297047400005</c:v>
                </c:pt>
                <c:pt idx="467">
                  <c:v>0.43481987897000002</c:v>
                </c:pt>
                <c:pt idx="468">
                  <c:v>0.24835218326399999</c:v>
                </c:pt>
                <c:pt idx="469">
                  <c:v>0.310437916142</c:v>
                </c:pt>
                <c:pt idx="470">
                  <c:v>0.496699123884</c:v>
                </c:pt>
                <c:pt idx="471">
                  <c:v>0.62077947554000001</c:v>
                </c:pt>
                <c:pt idx="472">
                  <c:v>0.49652463786200002</c:v>
                </c:pt>
                <c:pt idx="473">
                  <c:v>0.49642789105599999</c:v>
                </c:pt>
                <c:pt idx="474">
                  <c:v>0.49631363050900001</c:v>
                </c:pt>
                <c:pt idx="475">
                  <c:v>0.31008713448399999</c:v>
                </c:pt>
                <c:pt idx="476">
                  <c:v>0.18604662700499999</c:v>
                </c:pt>
                <c:pt idx="477">
                  <c:v>0.186045473234</c:v>
                </c:pt>
                <c:pt idx="478">
                  <c:v>0.24803294373500001</c:v>
                </c:pt>
                <c:pt idx="479">
                  <c:v>0.43401055513600001</c:v>
                </c:pt>
                <c:pt idx="480">
                  <c:v>0.49591951226300002</c:v>
                </c:pt>
                <c:pt idx="481">
                  <c:v>0.309890336007</c:v>
                </c:pt>
                <c:pt idx="482">
                  <c:v>0.43369540704100001</c:v>
                </c:pt>
                <c:pt idx="483">
                  <c:v>0.24782287603399999</c:v>
                </c:pt>
                <c:pt idx="484">
                  <c:v>6.1955680622999998E-2</c:v>
                </c:pt>
                <c:pt idx="485">
                  <c:v>6.1949002342000001E-2</c:v>
                </c:pt>
                <c:pt idx="486">
                  <c:v>0.18582455931700001</c:v>
                </c:pt>
                <c:pt idx="487">
                  <c:v>0.18578945966800001</c:v>
                </c:pt>
                <c:pt idx="488">
                  <c:v>0.12383877924599999</c:v>
                </c:pt>
                <c:pt idx="489">
                  <c:v>0.123838395846</c:v>
                </c:pt>
                <c:pt idx="490">
                  <c:v>0.24767525810800001</c:v>
                </c:pt>
                <c:pt idx="491">
                  <c:v>6.1918776187000001E-2</c:v>
                </c:pt>
                <c:pt idx="492">
                  <c:v>0.309593880938</c:v>
                </c:pt>
                <c:pt idx="493">
                  <c:v>0.43339225404199999</c:v>
                </c:pt>
                <c:pt idx="494">
                  <c:v>0.18570481476799999</c:v>
                </c:pt>
                <c:pt idx="495">
                  <c:v>0.18567424196900001</c:v>
                </c:pt>
                <c:pt idx="496">
                  <c:v>0.185621395464</c:v>
                </c:pt>
                <c:pt idx="497">
                  <c:v>6.1872037488999998E-2</c:v>
                </c:pt>
                <c:pt idx="498">
                  <c:v>6.1871769520000001E-2</c:v>
                </c:pt>
                <c:pt idx="499">
                  <c:v>0.12372769267</c:v>
                </c:pt>
                <c:pt idx="500">
                  <c:v>0.24742783303300001</c:v>
                </c:pt>
                <c:pt idx="501">
                  <c:v>6.1847049772E-2</c:v>
                </c:pt>
                <c:pt idx="502">
                  <c:v>0.12367138287399999</c:v>
                </c:pt>
                <c:pt idx="503">
                  <c:v>0.123636750282</c:v>
                </c:pt>
                <c:pt idx="504">
                  <c:v>0.123633540295</c:v>
                </c:pt>
                <c:pt idx="505">
                  <c:v>6.1816693721000002E-2</c:v>
                </c:pt>
                <c:pt idx="506">
                  <c:v>0</c:v>
                </c:pt>
                <c:pt idx="508">
                  <c:v>0</c:v>
                </c:pt>
                <c:pt idx="509">
                  <c:v>6.1788238113999999E-2</c:v>
                </c:pt>
                <c:pt idx="510">
                  <c:v>0.185313074084</c:v>
                </c:pt>
                <c:pt idx="511">
                  <c:v>0</c:v>
                </c:pt>
                <c:pt idx="512">
                  <c:v>6.1770452351000003E-2</c:v>
                </c:pt>
                <c:pt idx="513">
                  <c:v>0.123532587278</c:v>
                </c:pt>
                <c:pt idx="514">
                  <c:v>0.24704213365300001</c:v>
                </c:pt>
                <c:pt idx="517">
                  <c:v>6.1727785404E-2</c:v>
                </c:pt>
                <c:pt idx="518">
                  <c:v>6.1726451820999999E-2</c:v>
                </c:pt>
                <c:pt idx="519">
                  <c:v>6.1726299414999998E-2</c:v>
                </c:pt>
                <c:pt idx="520">
                  <c:v>0.123442312321</c:v>
                </c:pt>
                <c:pt idx="521">
                  <c:v>0.12343080870000001</c:v>
                </c:pt>
                <c:pt idx="522">
                  <c:v>0.12341351921</c:v>
                </c:pt>
                <c:pt idx="525">
                  <c:v>0</c:v>
                </c:pt>
                <c:pt idx="527">
                  <c:v>0.12336099498</c:v>
                </c:pt>
                <c:pt idx="528">
                  <c:v>6.1675552056999997E-2</c:v>
                </c:pt>
                <c:pt idx="530">
                  <c:v>6.1657945149999997E-2</c:v>
                </c:pt>
                <c:pt idx="531">
                  <c:v>0</c:v>
                </c:pt>
                <c:pt idx="532">
                  <c:v>0.246581456334</c:v>
                </c:pt>
                <c:pt idx="534">
                  <c:v>0.12328274836600001</c:v>
                </c:pt>
                <c:pt idx="535">
                  <c:v>6.1636093108999999E-2</c:v>
                </c:pt>
                <c:pt idx="537">
                  <c:v>6.1626179293000002E-2</c:v>
                </c:pt>
                <c:pt idx="538">
                  <c:v>0</c:v>
                </c:pt>
                <c:pt idx="540">
                  <c:v>0</c:v>
                </c:pt>
                <c:pt idx="542">
                  <c:v>0.12321985811199999</c:v>
                </c:pt>
                <c:pt idx="543">
                  <c:v>6.1603097402999997E-2</c:v>
                </c:pt>
                <c:pt idx="544">
                  <c:v>6.1599188861E-2</c:v>
                </c:pt>
                <c:pt idx="545">
                  <c:v>0.123182443052</c:v>
                </c:pt>
                <c:pt idx="547">
                  <c:v>6.1591145655999997E-2</c:v>
                </c:pt>
                <c:pt idx="548">
                  <c:v>6.1588528274E-2</c:v>
                </c:pt>
                <c:pt idx="550">
                  <c:v>6.1582156446999999E-2</c:v>
                </c:pt>
                <c:pt idx="552">
                  <c:v>0.18471496018700001</c:v>
                </c:pt>
                <c:pt idx="553">
                  <c:v>0</c:v>
                </c:pt>
                <c:pt idx="554">
                  <c:v>0.123143079328</c:v>
                </c:pt>
                <c:pt idx="555">
                  <c:v>0.184709842387</c:v>
                </c:pt>
                <c:pt idx="556">
                  <c:v>6.1566952829000002E-2</c:v>
                </c:pt>
                <c:pt idx="557">
                  <c:v>6.1563579478000001E-2</c:v>
                </c:pt>
                <c:pt idx="558">
                  <c:v>0.18467936891299999</c:v>
                </c:pt>
                <c:pt idx="559">
                  <c:v>6.1553992084000003E-2</c:v>
                </c:pt>
                <c:pt idx="561">
                  <c:v>6.1553120650000001E-2</c:v>
                </c:pt>
                <c:pt idx="562">
                  <c:v>6.1551074774E-2</c:v>
                </c:pt>
                <c:pt idx="563">
                  <c:v>0.43083736935599998</c:v>
                </c:pt>
                <c:pt idx="564">
                  <c:v>0.246176873159</c:v>
                </c:pt>
                <c:pt idx="565">
                  <c:v>0.30769874569599998</c:v>
                </c:pt>
                <c:pt idx="566">
                  <c:v>0.43072655570700003</c:v>
                </c:pt>
                <c:pt idx="567">
                  <c:v>0.36919305474000003</c:v>
                </c:pt>
                <c:pt idx="568">
                  <c:v>0.123064275855</c:v>
                </c:pt>
                <c:pt idx="569">
                  <c:v>0.30764933144700002</c:v>
                </c:pt>
                <c:pt idx="570">
                  <c:v>0.49223893031499999</c:v>
                </c:pt>
                <c:pt idx="571">
                  <c:v>0.43070879901100001</c:v>
                </c:pt>
                <c:pt idx="572">
                  <c:v>0.246105230905</c:v>
                </c:pt>
                <c:pt idx="573">
                  <c:v>0.55368294515000005</c:v>
                </c:pt>
                <c:pt idx="574">
                  <c:v>0.246080854786</c:v>
                </c:pt>
                <c:pt idx="575">
                  <c:v>0.43064123094399998</c:v>
                </c:pt>
                <c:pt idx="576">
                  <c:v>0.49212991983799997</c:v>
                </c:pt>
                <c:pt idx="577">
                  <c:v>0.36907450876100001</c:v>
                </c:pt>
                <c:pt idx="578">
                  <c:v>0.55354366352399997</c:v>
                </c:pt>
                <c:pt idx="579">
                  <c:v>0.36899143570800003</c:v>
                </c:pt>
                <c:pt idx="580">
                  <c:v>0.55338709796399999</c:v>
                </c:pt>
                <c:pt idx="581">
                  <c:v>0.553380973286</c:v>
                </c:pt>
                <c:pt idx="582">
                  <c:v>0.307433495986</c:v>
                </c:pt>
                <c:pt idx="583">
                  <c:v>0.368899554184</c:v>
                </c:pt>
                <c:pt idx="584">
                  <c:v>0.122957597457</c:v>
                </c:pt>
                <c:pt idx="585">
                  <c:v>0.49176962068500002</c:v>
                </c:pt>
                <c:pt idx="586">
                  <c:v>0.24585201552499999</c:v>
                </c:pt>
                <c:pt idx="587">
                  <c:v>0.43014981503499999</c:v>
                </c:pt>
                <c:pt idx="588">
                  <c:v>0.122899494022</c:v>
                </c:pt>
                <c:pt idx="589">
                  <c:v>0.122899418501</c:v>
                </c:pt>
                <c:pt idx="590">
                  <c:v>0.122891262738</c:v>
                </c:pt>
                <c:pt idx="591">
                  <c:v>0.36863233716499999</c:v>
                </c:pt>
                <c:pt idx="592">
                  <c:v>0.184288655006</c:v>
                </c:pt>
                <c:pt idx="593">
                  <c:v>0.24568047657</c:v>
                </c:pt>
                <c:pt idx="594">
                  <c:v>0.36844716713199999</c:v>
                </c:pt>
                <c:pt idx="595">
                  <c:v>0.429852124728</c:v>
                </c:pt>
                <c:pt idx="596">
                  <c:v>0.30703628923300003</c:v>
                </c:pt>
                <c:pt idx="597">
                  <c:v>0.36842092336100002</c:v>
                </c:pt>
                <c:pt idx="598">
                  <c:v>0.61396437410299998</c:v>
                </c:pt>
                <c:pt idx="599">
                  <c:v>0.184168280697</c:v>
                </c:pt>
                <c:pt idx="600">
                  <c:v>0.245518067674</c:v>
                </c:pt>
                <c:pt idx="601">
                  <c:v>0.42958199830400001</c:v>
                </c:pt>
                <c:pt idx="602">
                  <c:v>0.24547241473</c:v>
                </c:pt>
                <c:pt idx="603">
                  <c:v>0.36820749228600003</c:v>
                </c:pt>
                <c:pt idx="604">
                  <c:v>0.18409177097500001</c:v>
                </c:pt>
                <c:pt idx="605">
                  <c:v>0.30677895594499999</c:v>
                </c:pt>
                <c:pt idx="606">
                  <c:v>0.30673980979600002</c:v>
                </c:pt>
                <c:pt idx="607">
                  <c:v>6.1340360485000002E-2</c:v>
                </c:pt>
                <c:pt idx="608">
                  <c:v>0.30665797393499999</c:v>
                </c:pt>
                <c:pt idx="609">
                  <c:v>0.122662211575</c:v>
                </c:pt>
                <c:pt idx="610">
                  <c:v>0.24532412223</c:v>
                </c:pt>
                <c:pt idx="611">
                  <c:v>0.36795616906099998</c:v>
                </c:pt>
                <c:pt idx="612">
                  <c:v>0.367915104815</c:v>
                </c:pt>
                <c:pt idx="613">
                  <c:v>0.245242750471</c:v>
                </c:pt>
                <c:pt idx="614">
                  <c:v>0.245208773815</c:v>
                </c:pt>
                <c:pt idx="615">
                  <c:v>0.490350815361</c:v>
                </c:pt>
                <c:pt idx="616">
                  <c:v>0.122586276221</c:v>
                </c:pt>
                <c:pt idx="617">
                  <c:v>0.12258597567399999</c:v>
                </c:pt>
                <c:pt idx="618">
                  <c:v>0.18386408766599999</c:v>
                </c:pt>
                <c:pt idx="619">
                  <c:v>0.30640202519400001</c:v>
                </c:pt>
                <c:pt idx="620">
                  <c:v>0.18381632092799999</c:v>
                </c:pt>
                <c:pt idx="621">
                  <c:v>0.245057046217</c:v>
                </c:pt>
                <c:pt idx="622">
                  <c:v>0.30628471737200003</c:v>
                </c:pt>
                <c:pt idx="623">
                  <c:v>0.245024621911</c:v>
                </c:pt>
                <c:pt idx="624">
                  <c:v>0.245024471819</c:v>
                </c:pt>
                <c:pt idx="625">
                  <c:v>0.12250285584700001</c:v>
                </c:pt>
                <c:pt idx="626">
                  <c:v>0.55119026475499999</c:v>
                </c:pt>
                <c:pt idx="627">
                  <c:v>0</c:v>
                </c:pt>
                <c:pt idx="628">
                  <c:v>0.428602742812</c:v>
                </c:pt>
                <c:pt idx="629">
                  <c:v>0.42855236236400002</c:v>
                </c:pt>
                <c:pt idx="630">
                  <c:v>0</c:v>
                </c:pt>
                <c:pt idx="631">
                  <c:v>0.12244338218</c:v>
                </c:pt>
                <c:pt idx="632">
                  <c:v>0.18364551029500001</c:v>
                </c:pt>
                <c:pt idx="633">
                  <c:v>0.36724336115799999</c:v>
                </c:pt>
                <c:pt idx="634">
                  <c:v>0.367192343305</c:v>
                </c:pt>
                <c:pt idx="635">
                  <c:v>0.36713752053600002</c:v>
                </c:pt>
                <c:pt idx="636">
                  <c:v>0.67298209378100005</c:v>
                </c:pt>
                <c:pt idx="637">
                  <c:v>0.122359856667</c:v>
                </c:pt>
                <c:pt idx="638">
                  <c:v>0.367079345424</c:v>
                </c:pt>
                <c:pt idx="639">
                  <c:v>0.55057354469599995</c:v>
                </c:pt>
                <c:pt idx="640">
                  <c:v>0.48933823731800002</c:v>
                </c:pt>
                <c:pt idx="641">
                  <c:v>0.42811020535200001</c:v>
                </c:pt>
                <c:pt idx="642">
                  <c:v>0.672634771548</c:v>
                </c:pt>
                <c:pt idx="643">
                  <c:v>0.61138259895000002</c:v>
                </c:pt>
                <c:pt idx="644">
                  <c:v>0.48910069666200001</c:v>
                </c:pt>
                <c:pt idx="645">
                  <c:v>0.67251140212500005</c:v>
                </c:pt>
                <c:pt idx="646">
                  <c:v>0.67243986859299998</c:v>
                </c:pt>
                <c:pt idx="647">
                  <c:v>0.85567458939800001</c:v>
                </c:pt>
                <c:pt idx="648">
                  <c:v>0.54997467061100003</c:v>
                </c:pt>
                <c:pt idx="649">
                  <c:v>0.30549014672000002</c:v>
                </c:pt>
                <c:pt idx="650">
                  <c:v>0.73305094581800001</c:v>
                </c:pt>
                <c:pt idx="651">
                  <c:v>0.97739887281399995</c:v>
                </c:pt>
                <c:pt idx="652">
                  <c:v>0.61087205651200005</c:v>
                </c:pt>
                <c:pt idx="653">
                  <c:v>0.91620510289500001</c:v>
                </c:pt>
                <c:pt idx="654">
                  <c:v>0.85498480569799995</c:v>
                </c:pt>
                <c:pt idx="655">
                  <c:v>0.36642116448599998</c:v>
                </c:pt>
                <c:pt idx="656">
                  <c:v>0.61059529377499999</c:v>
                </c:pt>
                <c:pt idx="657">
                  <c:v>0.61047601256600004</c:v>
                </c:pt>
                <c:pt idx="658">
                  <c:v>0.24418861617000001</c:v>
                </c:pt>
                <c:pt idx="659">
                  <c:v>0.244187274546</c:v>
                </c:pt>
                <c:pt idx="660">
                  <c:v>0.67142974861000004</c:v>
                </c:pt>
                <c:pt idx="661">
                  <c:v>0.18308848300200001</c:v>
                </c:pt>
                <c:pt idx="662">
                  <c:v>0.42712148189100002</c:v>
                </c:pt>
                <c:pt idx="663">
                  <c:v>0.73203673360300003</c:v>
                </c:pt>
                <c:pt idx="664">
                  <c:v>0.24395524640999999</c:v>
                </c:pt>
                <c:pt idx="665">
                  <c:v>0.18296509574799999</c:v>
                </c:pt>
                <c:pt idx="666">
                  <c:v>0.121976581716</c:v>
                </c:pt>
                <c:pt idx="667">
                  <c:v>0.42686544774200003</c:v>
                </c:pt>
                <c:pt idx="668">
                  <c:v>0.36580592532400003</c:v>
                </c:pt>
                <c:pt idx="669">
                  <c:v>0.24380937520099999</c:v>
                </c:pt>
                <c:pt idx="670">
                  <c:v>0.487510291037</c:v>
                </c:pt>
                <c:pt idx="671">
                  <c:v>0.18277047135800001</c:v>
                </c:pt>
                <c:pt idx="672">
                  <c:v>0.24369143790100001</c:v>
                </c:pt>
                <c:pt idx="673">
                  <c:v>0.24369099251000001</c:v>
                </c:pt>
                <c:pt idx="674">
                  <c:v>0.609147692731</c:v>
                </c:pt>
                <c:pt idx="675">
                  <c:v>0.36541916623499998</c:v>
                </c:pt>
                <c:pt idx="676">
                  <c:v>0.54801160079599998</c:v>
                </c:pt>
                <c:pt idx="677">
                  <c:v>0.121749590312</c:v>
                </c:pt>
                <c:pt idx="678">
                  <c:v>0.243445533322</c:v>
                </c:pt>
                <c:pt idx="679">
                  <c:v>0.182581260833</c:v>
                </c:pt>
                <c:pt idx="680">
                  <c:v>0.121720840555</c:v>
                </c:pt>
                <c:pt idx="681">
                  <c:v>0.243406868576</c:v>
                </c:pt>
                <c:pt idx="682">
                  <c:v>0.243360368642</c:v>
                </c:pt>
                <c:pt idx="683">
                  <c:v>0.12165834929</c:v>
                </c:pt>
                <c:pt idx="684">
                  <c:v>0.18245089942199999</c:v>
                </c:pt>
                <c:pt idx="685">
                  <c:v>0.36490046731499998</c:v>
                </c:pt>
                <c:pt idx="686">
                  <c:v>0.121632231568</c:v>
                </c:pt>
                <c:pt idx="687">
                  <c:v>0.12163208362400001</c:v>
                </c:pt>
                <c:pt idx="688">
                  <c:v>6.0810642348000002E-2</c:v>
                </c:pt>
                <c:pt idx="689">
                  <c:v>0.121603241456</c:v>
                </c:pt>
                <c:pt idx="690">
                  <c:v>0.18237824884000001</c:v>
                </c:pt>
                <c:pt idx="691">
                  <c:v>0.243128135213</c:v>
                </c:pt>
                <c:pt idx="692">
                  <c:v>6.0772651333999998E-2</c:v>
                </c:pt>
                <c:pt idx="693">
                  <c:v>0.121544268549</c:v>
                </c:pt>
                <c:pt idx="694">
                  <c:v>0.182316402824</c:v>
                </c:pt>
                <c:pt idx="695">
                  <c:v>0.24306682271499999</c:v>
                </c:pt>
                <c:pt idx="696">
                  <c:v>0.18227464170800001</c:v>
                </c:pt>
                <c:pt idx="697">
                  <c:v>6.0750979305000001E-2</c:v>
                </c:pt>
                <c:pt idx="698">
                  <c:v>0.30372131504</c:v>
                </c:pt>
                <c:pt idx="699">
                  <c:v>0.42515405760899999</c:v>
                </c:pt>
                <c:pt idx="700">
                  <c:v>0.182208660499</c:v>
                </c:pt>
                <c:pt idx="701">
                  <c:v>0.18220832849900001</c:v>
                </c:pt>
                <c:pt idx="702">
                  <c:v>0.24292909324799999</c:v>
                </c:pt>
                <c:pt idx="703">
                  <c:v>0.18217236906600001</c:v>
                </c:pt>
                <c:pt idx="704">
                  <c:v>0.30358872228599998</c:v>
                </c:pt>
                <c:pt idx="705">
                  <c:v>0.121435341448</c:v>
                </c:pt>
                <c:pt idx="706">
                  <c:v>0.18214151059600001</c:v>
                </c:pt>
                <c:pt idx="707">
                  <c:v>6.0713689419000003E-2</c:v>
                </c:pt>
                <c:pt idx="708">
                  <c:v>0.182140957672</c:v>
                </c:pt>
                <c:pt idx="709">
                  <c:v>0.30355259746899999</c:v>
                </c:pt>
                <c:pt idx="710">
                  <c:v>0.66775733698299999</c:v>
                </c:pt>
                <c:pt idx="711">
                  <c:v>0.30349916325199999</c:v>
                </c:pt>
                <c:pt idx="712">
                  <c:v>0.24277516288600001</c:v>
                </c:pt>
                <c:pt idx="713">
                  <c:v>0.36412826782300001</c:v>
                </c:pt>
                <c:pt idx="714">
                  <c:v>0.12137586829200001</c:v>
                </c:pt>
                <c:pt idx="715">
                  <c:v>6.0687860485000002E-2</c:v>
                </c:pt>
                <c:pt idx="716">
                  <c:v>0.121370196698</c:v>
                </c:pt>
                <c:pt idx="717">
                  <c:v>0.36408518136899998</c:v>
                </c:pt>
                <c:pt idx="718">
                  <c:v>0.54609496591399997</c:v>
                </c:pt>
                <c:pt idx="719">
                  <c:v>0.303366396225</c:v>
                </c:pt>
                <c:pt idx="720">
                  <c:v>0.24268207374199999</c:v>
                </c:pt>
                <c:pt idx="721">
                  <c:v>6.0670334389999997E-2</c:v>
                </c:pt>
                <c:pt idx="722">
                  <c:v>0.242681337562</c:v>
                </c:pt>
                <c:pt idx="723">
                  <c:v>0.18200437781100001</c:v>
                </c:pt>
                <c:pt idx="724">
                  <c:v>0.60665991251899998</c:v>
                </c:pt>
                <c:pt idx="725">
                  <c:v>0.36397364588100001</c:v>
                </c:pt>
                <c:pt idx="726">
                  <c:v>6.0658410651999999E-2</c:v>
                </c:pt>
                <c:pt idx="727">
                  <c:v>0.24262304627699999</c:v>
                </c:pt>
                <c:pt idx="728">
                  <c:v>0.24262304627699999</c:v>
                </c:pt>
                <c:pt idx="729">
                  <c:v>0.242622899113</c:v>
                </c:pt>
                <c:pt idx="730">
                  <c:v>0.24261951437199999</c:v>
                </c:pt>
                <c:pt idx="731">
                  <c:v>0.36391580686500002</c:v>
                </c:pt>
                <c:pt idx="732">
                  <c:v>0.48520724414400002</c:v>
                </c:pt>
                <c:pt idx="733">
                  <c:v>0.18194521265700001</c:v>
                </c:pt>
                <c:pt idx="734">
                  <c:v>0.36388225983</c:v>
                </c:pt>
                <c:pt idx="735">
                  <c:v>0.42452878820599999</c:v>
                </c:pt>
                <c:pt idx="736">
                  <c:v>0.36388181846200002</c:v>
                </c:pt>
                <c:pt idx="737">
                  <c:v>0.42452235170800001</c:v>
                </c:pt>
                <c:pt idx="738">
                  <c:v>0.36387188798499998</c:v>
                </c:pt>
                <c:pt idx="739">
                  <c:v>0.30322344717700001</c:v>
                </c:pt>
                <c:pt idx="740">
                  <c:v>0.30322105663999999</c:v>
                </c:pt>
                <c:pt idx="741">
                  <c:v>0.24257669820300001</c:v>
                </c:pt>
                <c:pt idx="742">
                  <c:v>6.0644174549999999E-2</c:v>
                </c:pt>
                <c:pt idx="743">
                  <c:v>0.24257669820300001</c:v>
                </c:pt>
                <c:pt idx="744">
                  <c:v>0.303220872754</c:v>
                </c:pt>
                <c:pt idx="745">
                  <c:v>0.18193241332099999</c:v>
                </c:pt>
                <c:pt idx="746">
                  <c:v>6.0643953888E-2</c:v>
                </c:pt>
                <c:pt idx="747">
                  <c:v>0.18193075836600001</c:v>
                </c:pt>
                <c:pt idx="748">
                  <c:v>0.36386085475699997</c:v>
                </c:pt>
                <c:pt idx="749">
                  <c:v>6.0643475792000003E-2</c:v>
                </c:pt>
                <c:pt idx="750">
                  <c:v>0.181930427378</c:v>
                </c:pt>
                <c:pt idx="751">
                  <c:v>0.363859530815</c:v>
                </c:pt>
                <c:pt idx="752">
                  <c:v>0.42450072650199999</c:v>
                </c:pt>
                <c:pt idx="753">
                  <c:v>0.242569784294</c:v>
                </c:pt>
                <c:pt idx="754">
                  <c:v>0.12128371535599999</c:v>
                </c:pt>
                <c:pt idx="755">
                  <c:v>6.0640680922E-2</c:v>
                </c:pt>
                <c:pt idx="756">
                  <c:v>6.0640644149E-2</c:v>
                </c:pt>
                <c:pt idx="757">
                  <c:v>0.121281214752</c:v>
                </c:pt>
                <c:pt idx="758">
                  <c:v>6.0640055787999997E-2</c:v>
                </c:pt>
                <c:pt idx="759">
                  <c:v>6.0639504210999999E-2</c:v>
                </c:pt>
                <c:pt idx="760">
                  <c:v>0.24255301602500001</c:v>
                </c:pt>
                <c:pt idx="761">
                  <c:v>0.121274669541</c:v>
                </c:pt>
                <c:pt idx="762">
                  <c:v>6.0636525865999998E-2</c:v>
                </c:pt>
                <c:pt idx="764">
                  <c:v>6.0636489097999999E-2</c:v>
                </c:pt>
                <c:pt idx="765">
                  <c:v>0.24254316207099999</c:v>
                </c:pt>
                <c:pt idx="766">
                  <c:v>0.121270183906</c:v>
                </c:pt>
                <c:pt idx="767">
                  <c:v>0.121268713278</c:v>
                </c:pt>
                <c:pt idx="768">
                  <c:v>6.0633841929000003E-2</c:v>
                </c:pt>
                <c:pt idx="769">
                  <c:v>0.121266507403</c:v>
                </c:pt>
                <c:pt idx="770">
                  <c:v>0</c:v>
                </c:pt>
                <c:pt idx="771">
                  <c:v>0</c:v>
                </c:pt>
                <c:pt idx="772">
                  <c:v>0.121265845656</c:v>
                </c:pt>
                <c:pt idx="773">
                  <c:v>6.0632114041000003E-2</c:v>
                </c:pt>
                <c:pt idx="774">
                  <c:v>0.18189501868300001</c:v>
                </c:pt>
                <c:pt idx="775">
                  <c:v>0.30315579115399999</c:v>
                </c:pt>
                <c:pt idx="776">
                  <c:v>0.12126114010900001</c:v>
                </c:pt>
                <c:pt idx="777">
                  <c:v>6.0630533293999998E-2</c:v>
                </c:pt>
                <c:pt idx="778">
                  <c:v>0.18189159988199999</c:v>
                </c:pt>
                <c:pt idx="779">
                  <c:v>0.36378187638600001</c:v>
                </c:pt>
                <c:pt idx="780">
                  <c:v>0.121259302104</c:v>
                </c:pt>
                <c:pt idx="781">
                  <c:v>0.181888291486</c:v>
                </c:pt>
                <c:pt idx="782">
                  <c:v>0.30314476314299998</c:v>
                </c:pt>
                <c:pt idx="783">
                  <c:v>0.30314182247600002</c:v>
                </c:pt>
                <c:pt idx="784">
                  <c:v>0.18188509348500001</c:v>
                </c:pt>
                <c:pt idx="785">
                  <c:v>0.18188509348500001</c:v>
                </c:pt>
                <c:pt idx="786">
                  <c:v>0.24251228173100001</c:v>
                </c:pt>
                <c:pt idx="787">
                  <c:v>0.121255405717</c:v>
                </c:pt>
                <c:pt idx="788">
                  <c:v>0.121254744091</c:v>
                </c:pt>
                <c:pt idx="789">
                  <c:v>0.18188156478699999</c:v>
                </c:pt>
                <c:pt idx="790">
                  <c:v>0.36376136526899999</c:v>
                </c:pt>
                <c:pt idx="791">
                  <c:v>0.18188068263400001</c:v>
                </c:pt>
                <c:pt idx="792">
                  <c:v>6.062689421100000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EF0-41A2-ADBC-1FC75FE6D1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2360815"/>
        <c:axId val="692383071"/>
      </c:lineChart>
      <c:dateAx>
        <c:axId val="442360815"/>
        <c:scaling>
          <c:orientation val="minMax"/>
          <c:min val="44197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2383071"/>
        <c:crosses val="autoZero"/>
        <c:auto val="1"/>
        <c:lblOffset val="100"/>
        <c:baseTimeUnit val="days"/>
      </c:dateAx>
      <c:valAx>
        <c:axId val="692383071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800" b="0" i="0" baseline="0" dirty="0">
                    <a:effectLst/>
                  </a:rPr>
                  <a:t>Počet nově hospitalizovaných na JIP na 100 tis. dané kategorie v populaci v daném dni</a:t>
                </a:r>
                <a:endParaRPr lang="cs-CZ" sz="160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2.72039458206043E-2"/>
              <c:y val="0.122678409167009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2360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alespoň první dávkou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1">
                  <c:v>12–15</c:v>
                </c:pt>
                <c:pt idx="12">
                  <c:v>5–11</c:v>
                </c:pt>
                <c:pt idx="14">
                  <c:v>18+ CELKEM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94.984070000000003</c:v>
                </c:pt>
                <c:pt idx="1">
                  <c:v>90.561769999999996</c:v>
                </c:pt>
                <c:pt idx="2">
                  <c:v>85.069490000000002</c:v>
                </c:pt>
                <c:pt idx="3">
                  <c:v>80.532319999999999</c:v>
                </c:pt>
                <c:pt idx="4">
                  <c:v>77.721419999999995</c:v>
                </c:pt>
                <c:pt idx="5">
                  <c:v>76.488720000000001</c:v>
                </c:pt>
                <c:pt idx="6">
                  <c:v>75.145200000000003</c:v>
                </c:pt>
                <c:pt idx="7">
                  <c:v>72.888360000000006</c:v>
                </c:pt>
                <c:pt idx="8">
                  <c:v>68.126469999999998</c:v>
                </c:pt>
                <c:pt idx="9">
                  <c:v>66.029650000000004</c:v>
                </c:pt>
                <c:pt idx="10">
                  <c:v>68.319230000000005</c:v>
                </c:pt>
                <c:pt idx="11">
                  <c:v>48.555579999999999</c:v>
                </c:pt>
                <c:pt idx="12">
                  <c:v>7.2871290000000002</c:v>
                </c:pt>
                <c:pt idx="14">
                  <c:v>77.13797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9C-4207-A4F4-60AA5EF6176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Očkovaní 1. posilující dávkou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1">
                  <c:v>12–15</c:v>
                </c:pt>
                <c:pt idx="12">
                  <c:v>5–11</c:v>
                </c:pt>
                <c:pt idx="14">
                  <c:v>18+ CELKEM</c:v>
                </c:pt>
              </c:strCache>
            </c:strRef>
          </c:cat>
          <c:val>
            <c:numRef>
              <c:f>List1!$C$2:$C$16</c:f>
              <c:numCache>
                <c:formatCode>General</c:formatCode>
                <c:ptCount val="15"/>
                <c:pt idx="0">
                  <c:v>78.477559999999997</c:v>
                </c:pt>
                <c:pt idx="1">
                  <c:v>78.156800000000004</c:v>
                </c:pt>
                <c:pt idx="2">
                  <c:v>71.072580000000002</c:v>
                </c:pt>
                <c:pt idx="3">
                  <c:v>63.12491</c:v>
                </c:pt>
                <c:pt idx="4">
                  <c:v>55.471510000000002</c:v>
                </c:pt>
                <c:pt idx="5">
                  <c:v>51.133270000000003</c:v>
                </c:pt>
                <c:pt idx="6">
                  <c:v>47.089419999999997</c:v>
                </c:pt>
                <c:pt idx="7">
                  <c:v>40.629469999999998</c:v>
                </c:pt>
                <c:pt idx="8">
                  <c:v>33.266249999999999</c:v>
                </c:pt>
                <c:pt idx="9">
                  <c:v>29.257169999999999</c:v>
                </c:pt>
                <c:pt idx="10">
                  <c:v>25.07357</c:v>
                </c:pt>
                <c:pt idx="11">
                  <c:v>9.0824639999999999</c:v>
                </c:pt>
                <c:pt idx="12">
                  <c:v>0.13528599999999999</c:v>
                </c:pt>
                <c:pt idx="14">
                  <c:v>50.34595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9C-4207-A4F4-60AA5EF61764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Očkovaní 2. posilující dávkou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List1!$A$2:$A$16</c:f>
              <c:strCache>
                <c:ptCount val="15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1">
                  <c:v>12–15</c:v>
                </c:pt>
                <c:pt idx="12">
                  <c:v>5–11</c:v>
                </c:pt>
                <c:pt idx="14">
                  <c:v>18+ CELKEM</c:v>
                </c:pt>
              </c:strCache>
            </c:strRef>
          </c:cat>
          <c:val>
            <c:numRef>
              <c:f>List1!$D$2:$D$16</c:f>
              <c:numCache>
                <c:formatCode>General</c:formatCode>
                <c:ptCount val="15"/>
                <c:pt idx="0">
                  <c:v>29.889859999999999</c:v>
                </c:pt>
                <c:pt idx="1">
                  <c:v>26.760940000000002</c:v>
                </c:pt>
                <c:pt idx="2">
                  <c:v>19.948129999999999</c:v>
                </c:pt>
                <c:pt idx="3">
                  <c:v>12.59079</c:v>
                </c:pt>
                <c:pt idx="4">
                  <c:v>6.7253270000000001</c:v>
                </c:pt>
                <c:pt idx="5">
                  <c:v>4.7821199999999999</c:v>
                </c:pt>
                <c:pt idx="6">
                  <c:v>3.524022</c:v>
                </c:pt>
                <c:pt idx="7">
                  <c:v>2.642083</c:v>
                </c:pt>
                <c:pt idx="8">
                  <c:v>2.0948180000000001</c:v>
                </c:pt>
                <c:pt idx="9">
                  <c:v>1.5950139999999999</c:v>
                </c:pt>
                <c:pt idx="10">
                  <c:v>0.879355</c:v>
                </c:pt>
                <c:pt idx="11">
                  <c:v>0.141183</c:v>
                </c:pt>
                <c:pt idx="12">
                  <c:v>2.5599999999999999E-4</c:v>
                </c:pt>
                <c:pt idx="14">
                  <c:v>9.34248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D8-4646-9CDB-B7949EB14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  <c:max val="10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29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948766865803814"/>
          <c:y val="9.0139915797375347E-3"/>
          <c:w val="0.38359720943238107"/>
          <c:h val="0.16119306333485997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318277834663197E-2"/>
          <c:y val="3.1947616615880747E-2"/>
          <c:w val="0.88797141962854675"/>
          <c:h val="0.895140451592508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Očkovaní 2. posilující dávkou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0.0&quot; 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80+</c:v>
                </c:pt>
                <c:pt idx="1">
                  <c:v>70–79</c:v>
                </c:pt>
                <c:pt idx="2">
                  <c:v>65–69</c:v>
                </c:pt>
                <c:pt idx="3">
                  <c:v>60–64</c:v>
                </c:pt>
                <c:pt idx="4">
                  <c:v>55–59</c:v>
                </c:pt>
                <c:pt idx="5">
                  <c:v>50–54</c:v>
                </c:pt>
                <c:pt idx="6">
                  <c:v>45–49</c:v>
                </c:pt>
                <c:pt idx="7">
                  <c:v>40–44</c:v>
                </c:pt>
                <c:pt idx="8">
                  <c:v>35–39</c:v>
                </c:pt>
                <c:pt idx="9">
                  <c:v>30–34</c:v>
                </c:pt>
                <c:pt idx="10">
                  <c:v>16–29</c:v>
                </c:pt>
                <c:pt idx="11">
                  <c:v>12–15</c:v>
                </c:pt>
                <c:pt idx="12">
                  <c:v>5–11</c:v>
                </c:pt>
                <c:pt idx="14">
                  <c:v>18+ CELKEM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42.547969999999999</c:v>
                </c:pt>
                <c:pt idx="1">
                  <c:v>35.366950000000003</c:v>
                </c:pt>
                <c:pt idx="2">
                  <c:v>28.55237</c:v>
                </c:pt>
                <c:pt idx="3">
                  <c:v>20.189810000000001</c:v>
                </c:pt>
                <c:pt idx="4">
                  <c:v>12.2341</c:v>
                </c:pt>
                <c:pt idx="5">
                  <c:v>9.421837</c:v>
                </c:pt>
                <c:pt idx="6">
                  <c:v>7.5331720000000004</c:v>
                </c:pt>
                <c:pt idx="7">
                  <c:v>6.5475250000000003</c:v>
                </c:pt>
                <c:pt idx="8">
                  <c:v>6.3564040000000004</c:v>
                </c:pt>
                <c:pt idx="9">
                  <c:v>5.5134540000000003</c:v>
                </c:pt>
                <c:pt idx="10">
                  <c:v>3.5462560000000001</c:v>
                </c:pt>
                <c:pt idx="11">
                  <c:v>1.588965</c:v>
                </c:pt>
                <c:pt idx="12">
                  <c:v>1.388889</c:v>
                </c:pt>
                <c:pt idx="14">
                  <c:v>18.9777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9C-4207-A4F4-60AA5EF617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59492928"/>
        <c:axId val="160289136"/>
      </c:barChart>
      <c:catAx>
        <c:axId val="1594929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289136"/>
        <c:crosses val="autoZero"/>
        <c:auto val="1"/>
        <c:lblAlgn val="ctr"/>
        <c:lblOffset val="100"/>
        <c:tickLblSkip val="1"/>
        <c:noMultiLvlLbl val="0"/>
      </c:catAx>
      <c:valAx>
        <c:axId val="160289136"/>
        <c:scaling>
          <c:orientation val="minMax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&quot; %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2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948766865803814"/>
          <c:y val="9.0139915797375347E-3"/>
          <c:w val="0.38359720943238107"/>
          <c:h val="0.16119306333485997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F7C9CC-B672-4894-9639-9F2897280517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60B19-2A4E-4F93-B34D-D48C76E23AD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0646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22479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7443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4020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9760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AB0BA-50D5-47FF-BB0E-31121309B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57266E-03D8-4846-908D-468AF9C03A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9A79BF-9FFA-4879-B78D-6E0112A83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ECD8B8-A191-4AD0-9108-45713042EC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D4473C-F47C-449E-B87E-189A29C71D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2521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CBA33-E325-49C0-A0EE-237DFD017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1F95D1-BD6F-49D3-9414-13F552093D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FBEC4C-BDBF-4DF6-A25B-D4EC03ECE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EEB675-92A7-47AD-8D43-14CAAF73F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6B1B05-9485-4331-952B-BB2C449FFA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0802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BBCDB89-6192-4D8A-937E-5B16C4C9D68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95D9D5-D853-49D8-BA8D-FB8BAC1E2F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37A9F1-C636-48EC-ACBF-BD87FE0209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5AF9DA-FB73-4571-AA05-C42876B7F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B0040A-330E-4A1A-A2F7-9EB1606D5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22188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4671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71795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60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186249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9797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798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93290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9F1456EA-4541-48E1-AB60-E6DAB56C558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E01E90ED-357E-40A6-AD28-747087321CD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7F8E84A5-6449-432E-ADB6-18264DBF2B8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D0E2827-15A6-4BAB-ACC7-CB3D469C1A1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8973F025-355D-4512-B710-6105D84C11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0651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0E3F2-93B5-42D9-A8EB-2F0092189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8D57DE-C966-4AB1-99F9-CA4ABF3E0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3425BC-637F-4ADF-98F1-48275CA0C0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AA28E4-496F-4EC0-8076-14A666A3E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F7B03C-0CAF-48BC-A2FD-038C0E623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59110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593EA5D4-B03A-4B11-A4C0-282F833283D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2" name="Skupina 11">
              <a:extLst>
                <a:ext uri="{FF2B5EF4-FFF2-40B4-BE49-F238E27FC236}">
                  <a16:creationId xmlns:a16="http://schemas.microsoft.com/office/drawing/2014/main" id="{0E5FA04C-AABA-46E8-A370-3327A676F38D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5" name="Grafický objekt 14">
                <a:extLst>
                  <a:ext uri="{FF2B5EF4-FFF2-40B4-BE49-F238E27FC236}">
                    <a16:creationId xmlns:a16="http://schemas.microsoft.com/office/drawing/2014/main" id="{BBC17E35-0B10-48FD-91F9-B3AB3B12316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6" name="Grafický objekt 15">
                <a:extLst>
                  <a:ext uri="{FF2B5EF4-FFF2-40B4-BE49-F238E27FC236}">
                    <a16:creationId xmlns:a16="http://schemas.microsoft.com/office/drawing/2014/main" id="{5B4162CB-0524-4344-AE6A-3B7812F497E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4" name="Obrázek 13" descr="Obsah obrázku kreslení&#10;&#10;Popis byl vytvořen automaticky">
              <a:extLst>
                <a:ext uri="{FF2B5EF4-FFF2-40B4-BE49-F238E27FC236}">
                  <a16:creationId xmlns:a16="http://schemas.microsoft.com/office/drawing/2014/main" id="{21835B84-8F55-43D8-954E-4CF1DE31F1A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935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2BBEA9DF-5A8A-4302-AFFF-E12DBC52A245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0" name="Skupina 9">
              <a:extLst>
                <a:ext uri="{FF2B5EF4-FFF2-40B4-BE49-F238E27FC236}">
                  <a16:creationId xmlns:a16="http://schemas.microsoft.com/office/drawing/2014/main" id="{E1B4E032-66E8-49E2-854E-F1371E2F8485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2" name="Grafický objekt 11">
                <a:extLst>
                  <a:ext uri="{FF2B5EF4-FFF2-40B4-BE49-F238E27FC236}">
                    <a16:creationId xmlns:a16="http://schemas.microsoft.com/office/drawing/2014/main" id="{BC470F14-8C7A-4F18-B530-7CC6711338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3" name="Grafický objekt 12">
                <a:extLst>
                  <a:ext uri="{FF2B5EF4-FFF2-40B4-BE49-F238E27FC236}">
                    <a16:creationId xmlns:a16="http://schemas.microsoft.com/office/drawing/2014/main" id="{E7742909-C46D-44BD-B539-A4F7ABD251C7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1" name="Obrázek 10" descr="Obsah obrázku kreslení&#10;&#10;Popis byl vytvořen automaticky">
              <a:extLst>
                <a:ext uri="{FF2B5EF4-FFF2-40B4-BE49-F238E27FC236}">
                  <a16:creationId xmlns:a16="http://schemas.microsoft.com/office/drawing/2014/main" id="{1763603A-3381-4433-AF56-EE1B417657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82870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69793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22468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98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95496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4159AF-26F1-42E1-BF83-F89C20A19403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2857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1146C-B5E3-4260-84B3-0FC6C7C83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9FCF60-C15B-4086-99C5-CD4851D5C5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88EF2-D7ED-4E07-973D-BD963C7B8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95DA2-96FA-46AB-B808-F54EA558F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D18F0-0E61-40C2-A7A7-70D3B72A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15359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DAF24-205D-4FE5-AE37-7267F0894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B3F6F2-5405-47B8-8A68-409BAC7088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A702C4-FCE7-4738-8116-1137EE73F6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B31E61-453A-436C-A5AE-DAB03DB4A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26CEC4-48AE-4E08-9806-812BD3E2D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63F5F8-0AE1-4D1B-ADEF-DBB32652C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2493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274A5-1FC4-4126-B7C3-36E819916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C067-6DA1-4545-87BA-A1201C90B1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37C661-033B-427B-A24C-9887A538B0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399005A-AE08-4C61-AB24-32B4B9892C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FBBD40-74CF-4498-8800-08973F3983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F0CBFC-878E-4587-AF37-B59CE49E50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F2EF967-DA20-48F5-BB40-6A30B9E2B3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D3EB50-89EB-4F4A-8B88-62D27AC8E2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50744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447BC-FCC6-4230-9A13-DE6873351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494" y="233075"/>
            <a:ext cx="10515600" cy="466148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63887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C9260C-D7C1-4528-9664-BD65A7942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7E2A70-7993-440D-B1B5-3D0734AA6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D0280D-6212-4BB3-BB7D-8FA77208A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2338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28F36-5C53-4F8B-B2CF-E3E9254D1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19D83D-7847-4334-B91B-9C865BF67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41D2A1-9E4F-4D85-8096-390C3B3974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91B1F2-1078-493A-AAF7-0B00441E17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93952C9-6533-4FFB-B4E2-ACEB02693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A54AA1-5CC2-4CA4-839B-F3B2DD187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175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09A5A-5822-46C4-8AC9-457405A50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E636A45-164B-4C93-899F-39B5CECCAF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2245DB-3D7D-4301-8FEF-F3288065F4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8D642-8994-4657-8116-7B153A9A42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FA3F4F3-CE0A-4679-869C-3E91945F71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09FC56-779C-47D0-B0DF-1804B9DEF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16585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176DC06-4C61-47F8-9675-E6D660BBE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AC78B5-FCB1-465F-9AEB-7206F53269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9C4964-00C0-4743-A98A-70FA2B948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1A346-72D9-4EFF-A3F1-4E2959C73EFF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794C4D-11E6-42AF-95A8-A4A945F54A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A9590-F660-4ADE-9848-8ADD8325C2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15AD03-692F-401E-94B9-4B49A4A75E7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18950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618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02.03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53846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27274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690823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chart" Target="../charts/chart1.xml"/><Relationship Id="rId2" Type="http://schemas.openxmlformats.org/officeDocument/2006/relationships/tags" Target="../tags/tag3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chart" Target="../charts/chart2.xml"/><Relationship Id="rId5" Type="http://schemas.openxmlformats.org/officeDocument/2006/relationships/tags" Target="../tags/tag20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7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chart" Target="../charts/chart6.xml"/><Relationship Id="rId5" Type="http://schemas.openxmlformats.org/officeDocument/2006/relationships/tags" Target="../tags/tag34.xml"/><Relationship Id="rId10" Type="http://schemas.openxmlformats.org/officeDocument/2006/relationships/chart" Target="../charts/chart5.xml"/><Relationship Id="rId4" Type="http://schemas.openxmlformats.org/officeDocument/2006/relationships/tags" Target="../tags/tag33.xml"/><Relationship Id="rId9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chart" Target="../charts/chart7.xml"/><Relationship Id="rId5" Type="http://schemas.openxmlformats.org/officeDocument/2006/relationships/tags" Target="../tags/tag41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40.xml"/><Relationship Id="rId9" Type="http://schemas.openxmlformats.org/officeDocument/2006/relationships/tags" Target="../tags/tag4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4.png"/><Relationship Id="rId5" Type="http://schemas.openxmlformats.org/officeDocument/2006/relationships/tags" Target="../tags/tag50.xml"/><Relationship Id="rId10" Type="http://schemas.openxmlformats.org/officeDocument/2006/relationships/image" Target="../media/image3.png"/><Relationship Id="rId4" Type="http://schemas.openxmlformats.org/officeDocument/2006/relationships/tags" Target="../tags/tag49.xml"/><Relationship Id="rId9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chart" Target="../charts/chart10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4">
            <a:extLst>
              <a:ext uri="{FF2B5EF4-FFF2-40B4-BE49-F238E27FC236}">
                <a16:creationId xmlns:a16="http://schemas.microsoft.com/office/drawing/2014/main" id="{F01E5197-9496-405A-B112-B37BC8EAC836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486004" y="653855"/>
          <a:ext cx="8883754" cy="5242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13" name="Nadpis 1">
            <a:extLst>
              <a:ext uri="{FF2B5EF4-FFF2-40B4-BE49-F238E27FC236}">
                <a16:creationId xmlns:a16="http://schemas.microsoft.com/office/drawing/2014/main" id="{143787BF-2A6A-4477-8728-01C828323E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0338" y="90963"/>
            <a:ext cx="10515600" cy="364163"/>
          </a:xfrm>
        </p:spPr>
        <p:txBody>
          <a:bodyPr>
            <a:noAutofit/>
          </a:bodyPr>
          <a:lstStyle/>
          <a:p>
            <a:r>
              <a:rPr lang="cs-CZ" sz="1800" dirty="0">
                <a:solidFill>
                  <a:schemeClr val="tx1"/>
                </a:solidFill>
              </a:rPr>
              <a:t>Graf 1. </a:t>
            </a:r>
            <a:r>
              <a:rPr lang="cs-CZ" sz="1800" b="0" dirty="0" err="1">
                <a:solidFill>
                  <a:schemeClr val="tx1"/>
                </a:solidFill>
              </a:rPr>
              <a:t>Nadúmrtí</a:t>
            </a:r>
            <a:r>
              <a:rPr lang="cs-CZ" sz="1800" b="0" dirty="0">
                <a:solidFill>
                  <a:schemeClr val="tx1"/>
                </a:solidFill>
              </a:rPr>
              <a:t> v letech 2020 – </a:t>
            </a:r>
            <a:r>
              <a:rPr lang="en-US" sz="1800" b="0" dirty="0">
                <a:solidFill>
                  <a:schemeClr val="tx1"/>
                </a:solidFill>
              </a:rPr>
              <a:t>202</a:t>
            </a:r>
            <a:r>
              <a:rPr lang="cs-CZ" sz="1800" b="0" dirty="0">
                <a:solidFill>
                  <a:schemeClr val="tx1"/>
                </a:solidFill>
              </a:rPr>
              <a:t>2 </a:t>
            </a:r>
            <a:r>
              <a:rPr lang="en-US" sz="1800" b="0" dirty="0">
                <a:solidFill>
                  <a:schemeClr val="tx1"/>
                </a:solidFill>
              </a:rPr>
              <a:t>u </a:t>
            </a:r>
            <a:r>
              <a:rPr lang="cs-CZ" sz="1800" b="0" dirty="0">
                <a:solidFill>
                  <a:schemeClr val="tx1"/>
                </a:solidFill>
              </a:rPr>
              <a:t>celé </a:t>
            </a:r>
            <a:r>
              <a:rPr lang="en-US" sz="1800" b="0" dirty="0">
                <a:solidFill>
                  <a:schemeClr val="tx1"/>
                </a:solidFill>
              </a:rPr>
              <a:t>populace </a:t>
            </a:r>
            <a:r>
              <a:rPr lang="cs-CZ" sz="1800" b="0" dirty="0">
                <a:solidFill>
                  <a:schemeClr val="tx1"/>
                </a:solidFill>
              </a:rPr>
              <a:t>ČR</a:t>
            </a:r>
            <a:endParaRPr lang="cs-CZ" sz="1800" dirty="0">
              <a:solidFill>
                <a:schemeClr val="tx1"/>
              </a:solidFill>
            </a:endParaRPr>
          </a:p>
        </p:txBody>
      </p:sp>
      <p:sp>
        <p:nvSpPr>
          <p:cNvPr id="14" name="TextBox 5">
            <a:extLst>
              <a:ext uri="{FF2B5EF4-FFF2-40B4-BE49-F238E27FC236}">
                <a16:creationId xmlns:a16="http://schemas.microsoft.com/office/drawing/2014/main" id="{91C04D22-B5E2-4F31-AD0A-B7489A0FD11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428026" y="2867873"/>
            <a:ext cx="34062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čet zemřelých v daném týd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</a:t>
            </a:r>
          </a:p>
        </p:txBody>
      </p:sp>
      <p:sp>
        <p:nvSpPr>
          <p:cNvPr id="10" name="TextovéPole 27">
            <a:extLst>
              <a:ext uri="{FF2B5EF4-FFF2-40B4-BE49-F238E27FC236}">
                <a16:creationId xmlns:a16="http://schemas.microsoft.com/office/drawing/2014/main" id="{C40F003A-85E3-4915-B13A-E208920F113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0434" y="388608"/>
            <a:ext cx="71094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ČSÚ, Databáze zemřelých; NZIS (data za rok 2015-2022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B7F9818F-FD6E-488C-AF43-677AEE9A3212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9319518" y="2046993"/>
          <a:ext cx="2772000" cy="1260000"/>
        </p:xfrm>
        <a:graphic>
          <a:graphicData uri="http://schemas.openxmlformats.org/drawingml/2006/table">
            <a:tbl>
              <a:tblPr/>
              <a:tblGrid>
                <a:gridCol w="1559015">
                  <a:extLst>
                    <a:ext uri="{9D8B030D-6E8A-4147-A177-3AD203B41FA5}">
                      <a16:colId xmlns:a16="http://schemas.microsoft.com/office/drawing/2014/main" val="3011571726"/>
                    </a:ext>
                  </a:extLst>
                </a:gridCol>
                <a:gridCol w="645283">
                  <a:extLst>
                    <a:ext uri="{9D8B030D-6E8A-4147-A177-3AD203B41FA5}">
                      <a16:colId xmlns:a16="http://schemas.microsoft.com/office/drawing/2014/main" val="978072711"/>
                    </a:ext>
                  </a:extLst>
                </a:gridCol>
                <a:gridCol w="567702">
                  <a:extLst>
                    <a:ext uri="{9D8B030D-6E8A-4147-A177-3AD203B41FA5}">
                      <a16:colId xmlns:a16="http://schemas.microsoft.com/office/drawing/2014/main" val="1250895585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k 2021 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 11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810799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. čtvrtletí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 07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2100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. čtvrtletí 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76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0153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I. čtvrtletí 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3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312088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V. čtvrtletí 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 93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34737"/>
                  </a:ext>
                </a:extLst>
              </a:tr>
            </a:tbl>
          </a:graphicData>
        </a:graphic>
      </p:graphicFrame>
      <p:graphicFrame>
        <p:nvGraphicFramePr>
          <p:cNvPr id="22" name="Tabulka 21">
            <a:extLst>
              <a:ext uri="{FF2B5EF4-FFF2-40B4-BE49-F238E27FC236}">
                <a16:creationId xmlns:a16="http://schemas.microsoft.com/office/drawing/2014/main" id="{591CCE30-E43D-4BF8-A7FA-2F79F856C870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9319518" y="3366554"/>
          <a:ext cx="2772000" cy="1385682"/>
        </p:xfrm>
        <a:graphic>
          <a:graphicData uri="http://schemas.openxmlformats.org/drawingml/2006/table">
            <a:tbl>
              <a:tblPr/>
              <a:tblGrid>
                <a:gridCol w="1559015">
                  <a:extLst>
                    <a:ext uri="{9D8B030D-6E8A-4147-A177-3AD203B41FA5}">
                      <a16:colId xmlns:a16="http://schemas.microsoft.com/office/drawing/2014/main" val="3011571726"/>
                    </a:ext>
                  </a:extLst>
                </a:gridCol>
                <a:gridCol w="645283">
                  <a:extLst>
                    <a:ext uri="{9D8B030D-6E8A-4147-A177-3AD203B41FA5}">
                      <a16:colId xmlns:a16="http://schemas.microsoft.com/office/drawing/2014/main" val="978072711"/>
                    </a:ext>
                  </a:extLst>
                </a:gridCol>
                <a:gridCol w="567702">
                  <a:extLst>
                    <a:ext uri="{9D8B030D-6E8A-4147-A177-3AD203B41FA5}">
                      <a16:colId xmlns:a16="http://schemas.microsoft.com/office/drawing/2014/main" val="1250895585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k 202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 050</a:t>
                      </a:r>
                      <a:endParaRPr lang="cs-CZ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1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,4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810799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. čtvrtletí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26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2100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. čtvrtletí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0153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I. čtvrtletí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8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279958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V. čtvrtletí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do 51. týdne včetně)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5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558264"/>
                  </a:ext>
                </a:extLst>
              </a:tr>
            </a:tbl>
          </a:graphicData>
        </a:graphic>
      </p:graphicFrame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0DC4456F-9F64-4DD8-BEDC-73925DB78F8E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9319518" y="727431"/>
          <a:ext cx="2772000" cy="1260000"/>
        </p:xfrm>
        <a:graphic>
          <a:graphicData uri="http://schemas.openxmlformats.org/drawingml/2006/table">
            <a:tbl>
              <a:tblPr/>
              <a:tblGrid>
                <a:gridCol w="1559015">
                  <a:extLst>
                    <a:ext uri="{9D8B030D-6E8A-4147-A177-3AD203B41FA5}">
                      <a16:colId xmlns:a16="http://schemas.microsoft.com/office/drawing/2014/main" val="3011571726"/>
                    </a:ext>
                  </a:extLst>
                </a:gridCol>
                <a:gridCol w="645283">
                  <a:extLst>
                    <a:ext uri="{9D8B030D-6E8A-4147-A177-3AD203B41FA5}">
                      <a16:colId xmlns:a16="http://schemas.microsoft.com/office/drawing/2014/main" val="978072711"/>
                    </a:ext>
                  </a:extLst>
                </a:gridCol>
                <a:gridCol w="567702">
                  <a:extLst>
                    <a:ext uri="{9D8B030D-6E8A-4147-A177-3AD203B41FA5}">
                      <a16:colId xmlns:a16="http://schemas.microsoft.com/office/drawing/2014/main" val="1250895585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 20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28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2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810799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. čtvrtletí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78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2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2100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. čtvrtletí 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0153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II. čtvrtletí 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9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5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312088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 toho IV. čtvrtletí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67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3 %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34737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BA054A8A-027C-4E8D-BD2F-C8998BBA1A2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476713" y="1164746"/>
            <a:ext cx="64008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7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1DF712D7-FF92-4658-9B34-A1D7FA9ECF9E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516098" y="1164746"/>
            <a:ext cx="640080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2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AA794143-784D-1343-DBA9-95AB643EE98C}"/>
              </a:ext>
            </a:extLst>
          </p:cNvPr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823966" y="5806190"/>
          <a:ext cx="5084465" cy="1010397"/>
        </p:xfrm>
        <a:graphic>
          <a:graphicData uri="http://schemas.openxmlformats.org/drawingml/2006/table">
            <a:tbl>
              <a:tblPr/>
              <a:tblGrid>
                <a:gridCol w="4330839">
                  <a:extLst>
                    <a:ext uri="{9D8B030D-6E8A-4147-A177-3AD203B41FA5}">
                      <a16:colId xmlns:a16="http://schemas.microsoft.com/office/drawing/2014/main" val="3011571726"/>
                    </a:ext>
                  </a:extLst>
                </a:gridCol>
                <a:gridCol w="753626">
                  <a:extLst>
                    <a:ext uri="{9D8B030D-6E8A-4147-A177-3AD203B41FA5}">
                      <a16:colId xmlns:a16="http://schemas.microsoft.com/office/drawing/2014/main" val="978072711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 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810799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emřelí z primární příčiny COVID-19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5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2100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emřelí s COVID-19 (COVID-19 nebyl primární příčinou úmrtí)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6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0153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emřelí za rok celkem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2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34737"/>
                  </a:ext>
                </a:extLst>
              </a:tr>
            </a:tbl>
          </a:graphicData>
        </a:graphic>
      </p:graphicFrame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09586EB9-0CAA-41F6-0171-C537F454B261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6169689" y="5800823"/>
          <a:ext cx="5084465" cy="1010397"/>
        </p:xfrm>
        <a:graphic>
          <a:graphicData uri="http://schemas.openxmlformats.org/drawingml/2006/table">
            <a:tbl>
              <a:tblPr/>
              <a:tblGrid>
                <a:gridCol w="4320791">
                  <a:extLst>
                    <a:ext uri="{9D8B030D-6E8A-4147-A177-3AD203B41FA5}">
                      <a16:colId xmlns:a16="http://schemas.microsoft.com/office/drawing/2014/main" val="3011571726"/>
                    </a:ext>
                  </a:extLst>
                </a:gridCol>
                <a:gridCol w="763674">
                  <a:extLst>
                    <a:ext uri="{9D8B030D-6E8A-4147-A177-3AD203B41FA5}">
                      <a16:colId xmlns:a16="http://schemas.microsoft.com/office/drawing/2014/main" val="978072711"/>
                    </a:ext>
                  </a:extLst>
                </a:gridCol>
              </a:tblGrid>
              <a:tr h="261588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ok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očet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5810799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emřelí z primární příčiny COVID-19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dirty="0"/>
                        <a:t>25 455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182100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zemřelí s COVID-19 (COVID-19 nebyl primární příčinou úmrtí)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112</a:t>
                      </a:r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90153"/>
                  </a:ext>
                </a:extLst>
              </a:tr>
              <a:tr h="24960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emřelí za rok celkem</a:t>
                      </a:r>
                      <a:endParaRPr lang="cs-CZ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 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834737"/>
                  </a:ext>
                </a:extLst>
              </a:tr>
            </a:tbl>
          </a:graphicData>
        </a:graphic>
      </p:graphicFrame>
      <p:sp>
        <p:nvSpPr>
          <p:cNvPr id="8" name="Nadpis 1">
            <a:extLst>
              <a:ext uri="{FF2B5EF4-FFF2-40B4-BE49-F238E27FC236}">
                <a16:creationId xmlns:a16="http://schemas.microsoft.com/office/drawing/2014/main" id="{95BB9818-19BE-EA12-1CE1-2BE1322B119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9369758" y="393767"/>
            <a:ext cx="2721760" cy="3641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ctr"/>
            <a:r>
              <a:rPr lang="en-GB" sz="1400" dirty="0" err="1">
                <a:solidFill>
                  <a:schemeClr val="tx1"/>
                </a:solidFill>
              </a:rPr>
              <a:t>Nadúmrtí</a:t>
            </a:r>
            <a:r>
              <a:rPr lang="cs-CZ" sz="1400" dirty="0">
                <a:solidFill>
                  <a:schemeClr val="tx1"/>
                </a:solidFill>
              </a:rPr>
              <a:t> v tabulkovém souhrnu</a:t>
            </a: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90ED35A8-16B7-4A71-2DAA-F7D52CACCC1D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5352777" y="1751942"/>
            <a:ext cx="640080" cy="36933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8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6ECB305-619F-392E-8AD0-FE91B44FDB2A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8366377" y="2073175"/>
            <a:ext cx="640080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%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814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6A9F84F-7566-4D4F-9FE3-6E2EE201684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71887" y="240460"/>
            <a:ext cx="83947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>
                <a:solidFill>
                  <a:prstClr val="black"/>
                </a:solidFill>
              </a:rPr>
              <a:t>Graf 2. </a:t>
            </a:r>
            <a:r>
              <a:rPr kumimoji="0" lang="en-US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lativn</a:t>
            </a:r>
            <a:r>
              <a:rPr kumimoji="0" lang="cs-CZ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í pozitivita indikovaných testů: celá populace, 7denní klouzavý průměr</a:t>
            </a:r>
          </a:p>
        </p:txBody>
      </p: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5E6CE261-654C-45C8-B9B3-4C34C5E2DF7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268838"/>
              </p:ext>
            </p:extLst>
          </p:nvPr>
        </p:nvGraphicFramePr>
        <p:xfrm>
          <a:off x="656888" y="1503323"/>
          <a:ext cx="11095925" cy="5080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3" name="TextovéPole 11">
            <a:extLst>
              <a:ext uri="{FF2B5EF4-FFF2-40B4-BE49-F238E27FC236}">
                <a16:creationId xmlns:a16="http://schemas.microsoft.com/office/drawing/2014/main" id="{CF02A296-82D0-4BC5-99E2-F8B141FF07F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869974" y="3521686"/>
            <a:ext cx="27527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díl pozitivních testů v ČR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5D3DE924-7681-46CD-92D0-D1F778E2D40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2580048" y="1154305"/>
            <a:ext cx="0" cy="424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81B52AA-9DC0-45AC-810B-D3E2AB3B515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4782150" y="1201930"/>
            <a:ext cx="0" cy="424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1E0AC006-03CB-49D1-9795-2750257F11D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6867603" y="1168043"/>
            <a:ext cx="0" cy="424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7B44BCF0-D3DC-4E06-A5DB-9FEDF14C293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1198923" y="1146724"/>
            <a:ext cx="10145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ůvodní varianta	 varianta alfa</a:t>
            </a:r>
            <a:r>
              <a:rPr lang="cs-CZ" sz="1400" b="1" dirty="0">
                <a:solidFill>
                  <a:prstClr val="black"/>
                </a:solidFill>
                <a:latin typeface="Calibri" panose="020F0502020204030204"/>
              </a:rPr>
              <a:t>	      </a:t>
            </a: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nta delta	                                           varianta omikron</a:t>
            </a: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951BE4BF-C085-78D5-78D1-EBBEF305BDB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402767" y="6398986"/>
            <a:ext cx="26017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black"/>
                </a:solidFill>
              </a:rPr>
              <a:t>Klinicky indikované testy</a:t>
            </a:r>
            <a:endParaRPr kumimoji="0" lang="cs-CZ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9CE10F31-DFD3-7632-82B7-7858B8E31281}"/>
              </a:ext>
            </a:extLst>
          </p:cNvPr>
          <p:cNvCxnSpPr>
            <a:cxnSpLocks/>
          </p:cNvCxnSpPr>
          <p:nvPr/>
        </p:nvCxnSpPr>
        <p:spPr>
          <a:xfrm>
            <a:off x="2844800" y="6576900"/>
            <a:ext cx="504000" cy="0"/>
          </a:xfrm>
          <a:prstGeom prst="line">
            <a:avLst/>
          </a:prstGeom>
          <a:ln w="539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4">
            <a:extLst>
              <a:ext uri="{FF2B5EF4-FFF2-40B4-BE49-F238E27FC236}">
                <a16:creationId xmlns:a16="http://schemas.microsoft.com/office/drawing/2014/main" id="{E8FDA3A9-12CA-EE12-5768-1A398E02CFAA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745407" y="6420199"/>
            <a:ext cx="4207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black"/>
                </a:solidFill>
              </a:rPr>
              <a:t>Epidemiologicky  indikované testy</a:t>
            </a:r>
            <a:endParaRPr kumimoji="0" lang="cs-CZ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038F6613-CBC6-C1E3-B146-7A9AFFE094C5}"/>
              </a:ext>
            </a:extLst>
          </p:cNvPr>
          <p:cNvCxnSpPr>
            <a:cxnSpLocks/>
          </p:cNvCxnSpPr>
          <p:nvPr/>
        </p:nvCxnSpPr>
        <p:spPr>
          <a:xfrm>
            <a:off x="6187440" y="6598113"/>
            <a:ext cx="504000" cy="0"/>
          </a:xfrm>
          <a:prstGeom prst="line">
            <a:avLst/>
          </a:prstGeom>
          <a:ln w="539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23435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0934" y="33838"/>
            <a:ext cx="12070131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raf 3a. 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 těžkého průběhu COVID-19 dle věku a dle očkování 1. posilující dávkou za období </a:t>
            </a:r>
            <a:r>
              <a:rPr kumimoji="0" lang="cs-CZ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.9. – 31.1</a:t>
            </a:r>
            <a:r>
              <a:rPr kumimoji="0" lang="en-US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</a:t>
            </a:r>
            <a:r>
              <a:rPr kumimoji="0" lang="cs-CZ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2022</a:t>
            </a:r>
            <a:endParaRPr kumimoji="0" lang="en-US" sz="180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" name="Graf 20">
            <a:extLst>
              <a:ext uri="{FF2B5EF4-FFF2-40B4-BE49-F238E27FC236}">
                <a16:creationId xmlns:a16="http://schemas.microsoft.com/office/drawing/2014/main" id="{92D03F14-AAFC-465D-8372-A8122E1882E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40059" y="936131"/>
          <a:ext cx="501294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256CE2A0-9370-4F47-A40A-F4109B63B729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91187" y="933225"/>
          <a:ext cx="4896000" cy="55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11503AAF-358E-4DEE-BA03-2343B3E7FDEA}"/>
              </a:ext>
            </a:extLst>
          </p:cNvPr>
          <p:cNvSpPr txBox="1"/>
          <p:nvPr/>
        </p:nvSpPr>
        <p:spPr>
          <a:xfrm rot="16200000">
            <a:off x="-1454105" y="3261915"/>
            <a:ext cx="3798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kové kategorie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C75F059C-354F-483C-ACDC-E29241759CC0}"/>
              </a:ext>
            </a:extLst>
          </p:cNvPr>
          <p:cNvGrpSpPr/>
          <p:nvPr/>
        </p:nvGrpSpPr>
        <p:grpSpPr>
          <a:xfrm>
            <a:off x="6444345" y="6385993"/>
            <a:ext cx="2775102" cy="369332"/>
            <a:chOff x="7603894" y="6398538"/>
            <a:chExt cx="2775102" cy="369332"/>
          </a:xfrm>
        </p:grpSpPr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99987067-2C4C-49D2-831D-4B7BC148EF23}"/>
                </a:ext>
              </a:extLst>
            </p:cNvPr>
            <p:cNvSpPr/>
            <p:nvPr/>
          </p:nvSpPr>
          <p:spPr>
            <a:xfrm>
              <a:off x="7603894" y="6435395"/>
              <a:ext cx="301450" cy="303358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C71BE050-09A3-4025-835D-BA6A29B2CBB3}"/>
                </a:ext>
              </a:extLst>
            </p:cNvPr>
            <p:cNvSpPr txBox="1"/>
            <p:nvPr/>
          </p:nvSpPr>
          <p:spPr>
            <a:xfrm>
              <a:off x="8000049" y="6398538"/>
              <a:ext cx="23789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1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očkovaná populace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Skupina 4">
            <a:extLst>
              <a:ext uri="{FF2B5EF4-FFF2-40B4-BE49-F238E27FC236}">
                <a16:creationId xmlns:a16="http://schemas.microsoft.com/office/drawing/2014/main" id="{C4EA462D-0C1F-4F7D-99B4-0CF2A0ED2D3C}"/>
              </a:ext>
            </a:extLst>
          </p:cNvPr>
          <p:cNvGrpSpPr/>
          <p:nvPr/>
        </p:nvGrpSpPr>
        <p:grpSpPr>
          <a:xfrm>
            <a:off x="2088043" y="6385993"/>
            <a:ext cx="3476723" cy="369332"/>
            <a:chOff x="2528325" y="5881904"/>
            <a:chExt cx="3476723" cy="369332"/>
          </a:xfrm>
        </p:grpSpPr>
        <p:sp>
          <p:nvSpPr>
            <p:cNvPr id="3" name="Obdélník 2">
              <a:extLst>
                <a:ext uri="{FF2B5EF4-FFF2-40B4-BE49-F238E27FC236}">
                  <a16:creationId xmlns:a16="http://schemas.microsoft.com/office/drawing/2014/main" id="{2BCF0F8B-DC79-4E0F-BBB4-A481A6123427}"/>
                </a:ext>
              </a:extLst>
            </p:cNvPr>
            <p:cNvSpPr/>
            <p:nvPr/>
          </p:nvSpPr>
          <p:spPr>
            <a:xfrm>
              <a:off x="2528325" y="5881904"/>
              <a:ext cx="301450" cy="303358"/>
            </a:xfrm>
            <a:prstGeom prst="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0A9A2F1E-BDBE-413A-A8EF-F763D0E3E200}"/>
                </a:ext>
              </a:extLst>
            </p:cNvPr>
            <p:cNvSpPr txBox="1"/>
            <p:nvPr/>
          </p:nvSpPr>
          <p:spPr>
            <a:xfrm>
              <a:off x="2829775" y="5881904"/>
              <a:ext cx="317527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1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pulace s 1. posilující dávkou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4D894727-F892-4110-A1DD-301B47E86F14}"/>
              </a:ext>
            </a:extLst>
          </p:cNvPr>
          <p:cNvSpPr txBox="1"/>
          <p:nvPr/>
        </p:nvSpPr>
        <p:spPr>
          <a:xfrm>
            <a:off x="1915914" y="618218"/>
            <a:ext cx="31752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F48FA61-A939-46E7-B99E-158D43C25A63}"/>
              </a:ext>
            </a:extLst>
          </p:cNvPr>
          <p:cNvSpPr txBox="1"/>
          <p:nvPr/>
        </p:nvSpPr>
        <p:spPr>
          <a:xfrm>
            <a:off x="6156933" y="618218"/>
            <a:ext cx="31752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ení na UPV/ECMO</a:t>
            </a:r>
          </a:p>
        </p:txBody>
      </p:sp>
      <p:graphicFrame>
        <p:nvGraphicFramePr>
          <p:cNvPr id="2" name="Tabulka 3">
            <a:extLst>
              <a:ext uri="{FF2B5EF4-FFF2-40B4-BE49-F238E27FC236}">
                <a16:creationId xmlns:a16="http://schemas.microsoft.com/office/drawing/2014/main" id="{C5E3F8C4-FF10-4C80-B3C8-9429EE9AFFD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10032332" y="1230613"/>
          <a:ext cx="1934407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59">
                  <a:extLst>
                    <a:ext uri="{9D8B030D-6E8A-4147-A177-3AD203B41FA5}">
                      <a16:colId xmlns:a16="http://schemas.microsoft.com/office/drawing/2014/main" val="4139119248"/>
                    </a:ext>
                  </a:extLst>
                </a:gridCol>
                <a:gridCol w="791348">
                  <a:extLst>
                    <a:ext uri="{9D8B030D-6E8A-4147-A177-3AD203B41FA5}">
                      <a16:colId xmlns:a16="http://schemas.microsoft.com/office/drawing/2014/main" val="884364798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</a:t>
                      </a:r>
                      <a:r>
                        <a:rPr lang="cs-CZ" sz="1600" dirty="0" err="1"/>
                        <a:t>ěk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982345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85+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80.3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28277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75-8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1.4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03003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65-7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67.1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8909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600" dirty="0"/>
                        <a:t>Pod 65 let 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52</a:t>
                      </a:r>
                      <a:r>
                        <a:rPr lang="en-US" sz="1600" dirty="0"/>
                        <a:t>.</a:t>
                      </a:r>
                      <a:r>
                        <a:rPr lang="cs-CZ" sz="1600" dirty="0"/>
                        <a:t>9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93731"/>
                  </a:ext>
                </a:extLst>
              </a:tr>
            </a:tbl>
          </a:graphicData>
        </a:graphic>
      </p:graphicFrame>
      <p:graphicFrame>
        <p:nvGraphicFramePr>
          <p:cNvPr id="16" name="Tabulka 3">
            <a:extLst>
              <a:ext uri="{FF2B5EF4-FFF2-40B4-BE49-F238E27FC236}">
                <a16:creationId xmlns:a16="http://schemas.microsoft.com/office/drawing/2014/main" id="{5221B257-F930-4F17-BF82-088EBCB9352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10008691" y="3798523"/>
          <a:ext cx="1934407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59">
                  <a:extLst>
                    <a:ext uri="{9D8B030D-6E8A-4147-A177-3AD203B41FA5}">
                      <a16:colId xmlns:a16="http://schemas.microsoft.com/office/drawing/2014/main" val="4139119248"/>
                    </a:ext>
                  </a:extLst>
                </a:gridCol>
                <a:gridCol w="791348">
                  <a:extLst>
                    <a:ext uri="{9D8B030D-6E8A-4147-A177-3AD203B41FA5}">
                      <a16:colId xmlns:a16="http://schemas.microsoft.com/office/drawing/2014/main" val="884364798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</a:t>
                      </a:r>
                      <a:r>
                        <a:rPr lang="cs-CZ" sz="1600" dirty="0" err="1"/>
                        <a:t>ěk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982345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85+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73.5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28277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75-8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2</a:t>
                      </a:r>
                      <a:r>
                        <a:rPr lang="en-US" sz="1600" dirty="0"/>
                        <a:t>.</a:t>
                      </a:r>
                      <a:r>
                        <a:rPr lang="cs-CZ" sz="1600" dirty="0"/>
                        <a:t>6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03003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65-7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</a:t>
                      </a:r>
                      <a:r>
                        <a:rPr lang="cs-CZ" sz="1600" dirty="0"/>
                        <a:t>5</a:t>
                      </a:r>
                      <a:r>
                        <a:rPr lang="en-US" sz="1600" dirty="0"/>
                        <a:t>.</a:t>
                      </a:r>
                      <a:r>
                        <a:rPr lang="cs-CZ" sz="1600" dirty="0"/>
                        <a:t>3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8909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600" dirty="0"/>
                        <a:t>Pod 65 let 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</a:t>
                      </a:r>
                      <a:r>
                        <a:rPr lang="cs-CZ" sz="1600" dirty="0"/>
                        <a:t>6.9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93731"/>
                  </a:ext>
                </a:extLst>
              </a:tr>
            </a:tbl>
          </a:graphicData>
        </a:graphic>
      </p:graphicFrame>
      <p:sp>
        <p:nvSpPr>
          <p:cNvPr id="19" name="TextovéPole 18">
            <a:extLst>
              <a:ext uri="{FF2B5EF4-FFF2-40B4-BE49-F238E27FC236}">
                <a16:creationId xmlns:a16="http://schemas.microsoft.com/office/drawing/2014/main" id="{CAF6D380-6217-495E-A068-6E467BFDA63C}"/>
              </a:ext>
            </a:extLst>
          </p:cNvPr>
          <p:cNvSpPr txBox="1"/>
          <p:nvPr/>
        </p:nvSpPr>
        <p:spPr>
          <a:xfrm>
            <a:off x="9921991" y="861161"/>
            <a:ext cx="20662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F558A89-B39E-4A04-BA66-A0047E482B6C}"/>
              </a:ext>
            </a:extLst>
          </p:cNvPr>
          <p:cNvSpPr txBox="1"/>
          <p:nvPr/>
        </p:nvSpPr>
        <p:spPr>
          <a:xfrm>
            <a:off x="9926925" y="3429071"/>
            <a:ext cx="20662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ení na UPV/ECMO</a:t>
            </a:r>
          </a:p>
        </p:txBody>
      </p:sp>
    </p:spTree>
    <p:extLst>
      <p:ext uri="{BB962C8B-B14F-4D97-AF65-F5344CB8AC3E}">
        <p14:creationId xmlns:p14="http://schemas.microsoft.com/office/powerpoint/2010/main" val="37969967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1868" y="50905"/>
            <a:ext cx="12070131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raf 3b. 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ziko těžkého průběhu COVID-19 dle věku a dle očkování 2. posilující dávkou za období </a:t>
            </a:r>
            <a:r>
              <a:rPr kumimoji="0" lang="cs-CZ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1.9. – 31.1</a:t>
            </a:r>
            <a:r>
              <a:rPr kumimoji="0" lang="en-US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2</a:t>
            </a:r>
            <a:r>
              <a:rPr kumimoji="0" lang="cs-CZ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. 2022</a:t>
            </a:r>
            <a:endParaRPr kumimoji="0" lang="en-US" sz="180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1" name="Graf 20">
            <a:extLst>
              <a:ext uri="{FF2B5EF4-FFF2-40B4-BE49-F238E27FC236}">
                <a16:creationId xmlns:a16="http://schemas.microsoft.com/office/drawing/2014/main" id="{92D03F14-AAFC-465D-8372-A8122E1882E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740059" y="936131"/>
          <a:ext cx="501294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256CE2A0-9370-4F47-A40A-F4109B63B729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091187" y="933225"/>
          <a:ext cx="4896000" cy="55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TextovéPole 26">
            <a:extLst>
              <a:ext uri="{FF2B5EF4-FFF2-40B4-BE49-F238E27FC236}">
                <a16:creationId xmlns:a16="http://schemas.microsoft.com/office/drawing/2014/main" id="{11503AAF-358E-4DEE-BA03-2343B3E7FDE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-1454105" y="3261915"/>
            <a:ext cx="37982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kové kategorie</a:t>
            </a:r>
          </a:p>
        </p:txBody>
      </p:sp>
      <p:grpSp>
        <p:nvGrpSpPr>
          <p:cNvPr id="4" name="Skupina 3">
            <a:extLst>
              <a:ext uri="{FF2B5EF4-FFF2-40B4-BE49-F238E27FC236}">
                <a16:creationId xmlns:a16="http://schemas.microsoft.com/office/drawing/2014/main" id="{C75F059C-354F-483C-ACDC-E29241759CC0}"/>
              </a:ext>
            </a:extLst>
          </p:cNvPr>
          <p:cNvGrpSpPr/>
          <p:nvPr/>
        </p:nvGrpSpPr>
        <p:grpSpPr>
          <a:xfrm>
            <a:off x="6653895" y="6385993"/>
            <a:ext cx="2775102" cy="369332"/>
            <a:chOff x="7603894" y="6398538"/>
            <a:chExt cx="2775102" cy="369332"/>
          </a:xfrm>
        </p:grpSpPr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99987067-2C4C-49D2-831D-4B7BC148EF23}"/>
                </a:ext>
              </a:extLst>
            </p:cNvPr>
            <p:cNvSpPr/>
            <p:nvPr/>
          </p:nvSpPr>
          <p:spPr>
            <a:xfrm>
              <a:off x="7603894" y="6435395"/>
              <a:ext cx="301450" cy="303358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ovéPole 28">
              <a:extLst>
                <a:ext uri="{FF2B5EF4-FFF2-40B4-BE49-F238E27FC236}">
                  <a16:creationId xmlns:a16="http://schemas.microsoft.com/office/drawing/2014/main" id="{C71BE050-09A3-4025-835D-BA6A29B2CBB3}"/>
                </a:ext>
              </a:extLst>
            </p:cNvPr>
            <p:cNvSpPr txBox="1"/>
            <p:nvPr/>
          </p:nvSpPr>
          <p:spPr>
            <a:xfrm>
              <a:off x="8000049" y="6398538"/>
              <a:ext cx="2378947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1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eočkovaná populace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" name="Skupina 4">
            <a:extLst>
              <a:ext uri="{FF2B5EF4-FFF2-40B4-BE49-F238E27FC236}">
                <a16:creationId xmlns:a16="http://schemas.microsoft.com/office/drawing/2014/main" id="{C4EA462D-0C1F-4F7D-99B4-0CF2A0ED2D3C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049943" y="6385993"/>
            <a:ext cx="3524348" cy="369332"/>
            <a:chOff x="-5491725" y="5881904"/>
            <a:chExt cx="3524348" cy="369332"/>
          </a:xfrm>
        </p:grpSpPr>
        <p:sp>
          <p:nvSpPr>
            <p:cNvPr id="3" name="Obdélník 2">
              <a:extLst>
                <a:ext uri="{FF2B5EF4-FFF2-40B4-BE49-F238E27FC236}">
                  <a16:creationId xmlns:a16="http://schemas.microsoft.com/office/drawing/2014/main" id="{2BCF0F8B-DC79-4E0F-BBB4-A481A6123427}"/>
                </a:ext>
              </a:extLst>
            </p:cNvPr>
            <p:cNvSpPr/>
            <p:nvPr/>
          </p:nvSpPr>
          <p:spPr>
            <a:xfrm>
              <a:off x="-5491725" y="5881904"/>
              <a:ext cx="301450" cy="303358"/>
            </a:xfrm>
            <a:prstGeom prst="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ovéPole 29">
              <a:extLst>
                <a:ext uri="{FF2B5EF4-FFF2-40B4-BE49-F238E27FC236}">
                  <a16:creationId xmlns:a16="http://schemas.microsoft.com/office/drawing/2014/main" id="{0A9A2F1E-BDBE-413A-A8EF-F763D0E3E200}"/>
                </a:ext>
              </a:extLst>
            </p:cNvPr>
            <p:cNvSpPr txBox="1"/>
            <p:nvPr/>
          </p:nvSpPr>
          <p:spPr>
            <a:xfrm>
              <a:off x="-5142650" y="5881904"/>
              <a:ext cx="3175273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330" b="1" i="0" u="none" strike="noStrike" kern="1200" baseline="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pPr>
              <a:r>
                <a:rPr kumimoji="0" lang="cs-CZ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pulace s 2. posilující dávkou</a:t>
              </a:r>
              <a:endPara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4D894727-F892-4110-A1DD-301B47E86F14}"/>
              </a:ext>
            </a:extLst>
          </p:cNvPr>
          <p:cNvSpPr txBox="1"/>
          <p:nvPr/>
        </p:nvSpPr>
        <p:spPr>
          <a:xfrm>
            <a:off x="1915914" y="618218"/>
            <a:ext cx="31752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BF48FA61-A939-46E7-B99E-158D43C25A63}"/>
              </a:ext>
            </a:extLst>
          </p:cNvPr>
          <p:cNvSpPr txBox="1"/>
          <p:nvPr/>
        </p:nvSpPr>
        <p:spPr>
          <a:xfrm>
            <a:off x="6156933" y="618218"/>
            <a:ext cx="317527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ení na UPV/ECMO</a:t>
            </a:r>
          </a:p>
        </p:txBody>
      </p:sp>
      <p:graphicFrame>
        <p:nvGraphicFramePr>
          <p:cNvPr id="2" name="Tabulka 3">
            <a:extLst>
              <a:ext uri="{FF2B5EF4-FFF2-40B4-BE49-F238E27FC236}">
                <a16:creationId xmlns:a16="http://schemas.microsoft.com/office/drawing/2014/main" id="{C5E3F8C4-FF10-4C80-B3C8-9429EE9AFFDC}"/>
              </a:ext>
            </a:extLst>
          </p:cNvPr>
          <p:cNvGraphicFramePr>
            <a:graphicFrameLocks noGrp="1"/>
          </p:cNvGraphicFramePr>
          <p:nvPr>
            <p:custDataLst>
              <p:tags r:id="rId6"/>
            </p:custDataLst>
          </p:nvPr>
        </p:nvGraphicFramePr>
        <p:xfrm>
          <a:off x="10032332" y="1230613"/>
          <a:ext cx="1934407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59">
                  <a:extLst>
                    <a:ext uri="{9D8B030D-6E8A-4147-A177-3AD203B41FA5}">
                      <a16:colId xmlns:a16="http://schemas.microsoft.com/office/drawing/2014/main" val="4139119248"/>
                    </a:ext>
                  </a:extLst>
                </a:gridCol>
                <a:gridCol w="791348">
                  <a:extLst>
                    <a:ext uri="{9D8B030D-6E8A-4147-A177-3AD203B41FA5}">
                      <a16:colId xmlns:a16="http://schemas.microsoft.com/office/drawing/2014/main" val="884364798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</a:t>
                      </a:r>
                      <a:r>
                        <a:rPr lang="cs-CZ" sz="1600" dirty="0" err="1"/>
                        <a:t>ěk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982345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85+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2.9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28277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75-8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6.4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03003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65-7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0.2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8909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600" dirty="0"/>
                        <a:t>Pod 65 let 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87.8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93731"/>
                  </a:ext>
                </a:extLst>
              </a:tr>
            </a:tbl>
          </a:graphicData>
        </a:graphic>
      </p:graphicFrame>
      <p:graphicFrame>
        <p:nvGraphicFramePr>
          <p:cNvPr id="16" name="Tabulka 3">
            <a:extLst>
              <a:ext uri="{FF2B5EF4-FFF2-40B4-BE49-F238E27FC236}">
                <a16:creationId xmlns:a16="http://schemas.microsoft.com/office/drawing/2014/main" id="{5221B257-F930-4F17-BF82-088EBCB9352F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10008691" y="3798523"/>
          <a:ext cx="1934407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59">
                  <a:extLst>
                    <a:ext uri="{9D8B030D-6E8A-4147-A177-3AD203B41FA5}">
                      <a16:colId xmlns:a16="http://schemas.microsoft.com/office/drawing/2014/main" val="4139119248"/>
                    </a:ext>
                  </a:extLst>
                </a:gridCol>
                <a:gridCol w="791348">
                  <a:extLst>
                    <a:ext uri="{9D8B030D-6E8A-4147-A177-3AD203B41FA5}">
                      <a16:colId xmlns:a16="http://schemas.microsoft.com/office/drawing/2014/main" val="884364798"/>
                    </a:ext>
                  </a:extLst>
                </a:gridCol>
              </a:tblGrid>
              <a:tr h="3149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V</a:t>
                      </a:r>
                      <a:r>
                        <a:rPr lang="cs-CZ" sz="1600" dirty="0" err="1"/>
                        <a:t>ěk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O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9823454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85+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82.9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282775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75-8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5.0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5030038"/>
                  </a:ext>
                </a:extLst>
              </a:tr>
              <a:tr h="314960">
                <a:tc>
                  <a:txBody>
                    <a:bodyPr/>
                    <a:lstStyle/>
                    <a:p>
                      <a:r>
                        <a:rPr lang="en-US" sz="1600" dirty="0"/>
                        <a:t>65-74 let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90.4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8890939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en-US" sz="1600" dirty="0"/>
                        <a:t>Pod 65 let </a:t>
                      </a:r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100</a:t>
                      </a:r>
                      <a:r>
                        <a:rPr lang="en-US" sz="1600" dirty="0"/>
                        <a:t>%</a:t>
                      </a:r>
                      <a:endParaRPr lang="cs-CZ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893731"/>
                  </a:ext>
                </a:extLst>
              </a:tr>
            </a:tbl>
          </a:graphicData>
        </a:graphic>
      </p:graphicFrame>
      <p:sp>
        <p:nvSpPr>
          <p:cNvPr id="19" name="TextovéPole 18">
            <a:extLst>
              <a:ext uri="{FF2B5EF4-FFF2-40B4-BE49-F238E27FC236}">
                <a16:creationId xmlns:a16="http://schemas.microsoft.com/office/drawing/2014/main" id="{CAF6D380-6217-495E-A068-6E467BFDA63C}"/>
              </a:ext>
            </a:extLst>
          </p:cNvPr>
          <p:cNvSpPr txBox="1"/>
          <p:nvPr/>
        </p:nvSpPr>
        <p:spPr>
          <a:xfrm>
            <a:off x="9921991" y="861161"/>
            <a:ext cx="20662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na JIP 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F558A89-B39E-4A04-BA66-A0047E482B6C}"/>
              </a:ext>
            </a:extLst>
          </p:cNvPr>
          <p:cNvSpPr txBox="1"/>
          <p:nvPr/>
        </p:nvSpPr>
        <p:spPr>
          <a:xfrm>
            <a:off x="9926925" y="3429071"/>
            <a:ext cx="206625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3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čení na UPV/ECMO</a:t>
            </a:r>
          </a:p>
        </p:txBody>
      </p:sp>
    </p:spTree>
    <p:extLst>
      <p:ext uri="{BB962C8B-B14F-4D97-AF65-F5344CB8AC3E}">
        <p14:creationId xmlns:p14="http://schemas.microsoft.com/office/powerpoint/2010/main" val="5186472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ovéPole 31">
            <a:extLst>
              <a:ext uri="{FF2B5EF4-FFF2-40B4-BE49-F238E27FC236}">
                <a16:creationId xmlns:a16="http://schemas.microsoft.com/office/drawing/2014/main" id="{8EEC0A54-1B22-4157-9B8B-BDAA3D273EC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81506" y="116238"/>
            <a:ext cx="11675486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af 4. 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nově hospitalizovaných s těžkým průběhem COVID-19 na JIP na 100tis. osob (</a:t>
            </a:r>
            <a:r>
              <a:rPr kumimoji="0" lang="cs-CZ" sz="180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pulace 65+</a:t>
            </a:r>
            <a:r>
              <a:rPr kumimoji="0" lang="cs-CZ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750BEB04-CF14-4212-8481-97203DDCF60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87979" y="886720"/>
          <a:ext cx="11370005" cy="588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E34E7F37-0229-43E7-86C3-E150A8A06A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563157" y="3675037"/>
            <a:ext cx="2246843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nta Alfa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7A455AE3-2872-4D82-860E-E3E1B82133BF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548644" y="4192472"/>
            <a:ext cx="2261356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7782A7CE-9F22-48F6-9B90-DDACA15BD4E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3810000" y="2030670"/>
            <a:ext cx="2473633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nta Delta 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CB1E119D-ABC9-447B-AE2D-652A757EEADE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810000" y="2571904"/>
            <a:ext cx="2473633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21FFA217-BB10-4682-B876-AA42D377B80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6283633" y="3538700"/>
            <a:ext cx="3200417" cy="0"/>
          </a:xfrm>
          <a:prstGeom prst="straightConnector1">
            <a:avLst/>
          </a:prstGeom>
          <a:ln w="28575">
            <a:solidFill>
              <a:schemeClr val="tx1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574FFEF-2291-4C8F-8833-64A7581A40FC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6283633" y="2998113"/>
            <a:ext cx="3199821" cy="430887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ianta Omikron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Tabulka 6">
            <a:extLst>
              <a:ext uri="{FF2B5EF4-FFF2-40B4-BE49-F238E27FC236}">
                <a16:creationId xmlns:a16="http://schemas.microsoft.com/office/drawing/2014/main" id="{5D981F8F-5EFD-47A0-A664-E2CC2B1D1912}"/>
              </a:ext>
            </a:extLst>
          </p:cNvPr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3875316"/>
              </p:ext>
            </p:extLst>
          </p:nvPr>
        </p:nvGraphicFramePr>
        <p:xfrm>
          <a:off x="7845249" y="654074"/>
          <a:ext cx="3737151" cy="137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37151">
                  <a:extLst>
                    <a:ext uri="{9D8B030D-6E8A-4147-A177-3AD203B41FA5}">
                      <a16:colId xmlns:a16="http://schemas.microsoft.com/office/drawing/2014/main" val="1141492901"/>
                    </a:ext>
                  </a:extLst>
                </a:gridCol>
              </a:tblGrid>
              <a:tr h="321746">
                <a:tc>
                  <a:txBody>
                    <a:bodyPr/>
                    <a:lstStyle/>
                    <a:p>
                      <a:r>
                        <a:rPr lang="cs-CZ" b="1" dirty="0"/>
                        <a:t>7 denní průmě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5391499"/>
                  </a:ext>
                </a:extLst>
              </a:tr>
              <a:tr h="299978">
                <a:tc>
                  <a:txBody>
                    <a:bodyPr/>
                    <a:lstStyle/>
                    <a:p>
                      <a:r>
                        <a:rPr lang="cs-CZ" sz="1600" dirty="0"/>
                        <a:t>Bez očkování nebo nedokončené očkování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716768"/>
                  </a:ext>
                </a:extLst>
              </a:tr>
              <a:tr h="299978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bez posilující dávk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07000598"/>
                  </a:ext>
                </a:extLst>
              </a:tr>
              <a:tr h="299978">
                <a:tc>
                  <a:txBody>
                    <a:bodyPr/>
                    <a:lstStyle/>
                    <a:p>
                      <a:r>
                        <a:rPr lang="cs-CZ" sz="1600" dirty="0"/>
                        <a:t>Ukončené očkování – s 1. posilující dávko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2753142"/>
                  </a:ext>
                </a:extLst>
              </a:tr>
            </a:tbl>
          </a:graphicData>
        </a:graphic>
      </p:graphicFrame>
      <p:grpSp>
        <p:nvGrpSpPr>
          <p:cNvPr id="21" name="Skupina 20">
            <a:extLst>
              <a:ext uri="{FF2B5EF4-FFF2-40B4-BE49-F238E27FC236}">
                <a16:creationId xmlns:a16="http://schemas.microsoft.com/office/drawing/2014/main" id="{8560D23F-9766-4669-8712-C642E1A25888}"/>
              </a:ext>
            </a:extLst>
          </p:cNvPr>
          <p:cNvGrpSpPr/>
          <p:nvPr/>
        </p:nvGrpSpPr>
        <p:grpSpPr>
          <a:xfrm>
            <a:off x="7348449" y="1164783"/>
            <a:ext cx="501515" cy="673958"/>
            <a:chOff x="8290713" y="1839703"/>
            <a:chExt cx="501515" cy="1281567"/>
          </a:xfrm>
        </p:grpSpPr>
        <p:cxnSp>
          <p:nvCxnSpPr>
            <p:cNvPr id="22" name="Přímá spojnice 21">
              <a:extLst>
                <a:ext uri="{FF2B5EF4-FFF2-40B4-BE49-F238E27FC236}">
                  <a16:creationId xmlns:a16="http://schemas.microsoft.com/office/drawing/2014/main" id="{7D2F9A30-FB8E-4118-89D1-920C25477631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3121270"/>
              <a:ext cx="496800" cy="0"/>
            </a:xfrm>
            <a:prstGeom prst="line">
              <a:avLst/>
            </a:prstGeom>
            <a:ln w="50800" cmpd="sng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3" name="Přímá spojnice 22">
              <a:extLst>
                <a:ext uri="{FF2B5EF4-FFF2-40B4-BE49-F238E27FC236}">
                  <a16:creationId xmlns:a16="http://schemas.microsoft.com/office/drawing/2014/main" id="{D4487CF7-3EB2-4E9E-A886-E02C26BF4EE7}"/>
                </a:ext>
              </a:extLst>
            </p:cNvPr>
            <p:cNvCxnSpPr>
              <a:cxnSpLocks/>
            </p:cNvCxnSpPr>
            <p:nvPr/>
          </p:nvCxnSpPr>
          <p:spPr>
            <a:xfrm>
              <a:off x="8290713" y="2491046"/>
              <a:ext cx="496800" cy="0"/>
            </a:xfrm>
            <a:prstGeom prst="line">
              <a:avLst/>
            </a:prstGeom>
            <a:ln w="50800" cmpd="sng">
              <a:solidFill>
                <a:srgbClr val="517BC8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4" name="Přímá spojnice 23">
              <a:extLst>
                <a:ext uri="{FF2B5EF4-FFF2-40B4-BE49-F238E27FC236}">
                  <a16:creationId xmlns:a16="http://schemas.microsoft.com/office/drawing/2014/main" id="{84B4D489-C5F0-437E-A9E4-0EF58AC51C2C}"/>
                </a:ext>
              </a:extLst>
            </p:cNvPr>
            <p:cNvCxnSpPr>
              <a:cxnSpLocks/>
            </p:cNvCxnSpPr>
            <p:nvPr/>
          </p:nvCxnSpPr>
          <p:spPr>
            <a:xfrm>
              <a:off x="8295428" y="1839703"/>
              <a:ext cx="496800" cy="0"/>
            </a:xfrm>
            <a:prstGeom prst="line">
              <a:avLst/>
            </a:prstGeom>
            <a:ln w="50800" cmpd="sng">
              <a:solidFill>
                <a:srgbClr val="C41111"/>
              </a:solidFill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204217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739" y="123827"/>
            <a:ext cx="5971435" cy="576000"/>
          </a:xfrm>
          <a:prstGeom prst="rect">
            <a:avLst/>
          </a:prstGeom>
        </p:spPr>
        <p:txBody>
          <a:bodyPr/>
          <a:lstStyle/>
          <a:p>
            <a:r>
              <a:rPr lang="cs-CZ" sz="1800" dirty="0">
                <a:solidFill>
                  <a:schemeClr val="tx1"/>
                </a:solidFill>
              </a:rPr>
              <a:t>Graf 5a. </a:t>
            </a:r>
            <a:r>
              <a:rPr lang="cs-CZ" sz="1800" b="0" dirty="0">
                <a:solidFill>
                  <a:schemeClr val="tx1"/>
                </a:solidFill>
              </a:rPr>
              <a:t>Proočkovanost populace, stav k 28. 2. 2023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91BB0540-AA82-4510-BE55-527D2D86A3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1067391"/>
              </p:ext>
            </p:extLst>
          </p:nvPr>
        </p:nvGraphicFramePr>
        <p:xfrm>
          <a:off x="999133" y="1136053"/>
          <a:ext cx="10449917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C14346A-4314-48B4-B88E-E6C412A44382}"/>
              </a:ext>
            </a:extLst>
          </p:cNvPr>
          <p:cNvCxnSpPr/>
          <p:nvPr/>
        </p:nvCxnSpPr>
        <p:spPr>
          <a:xfrm>
            <a:off x="1655174" y="2389396"/>
            <a:ext cx="9396000" cy="0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530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A850C8A-CC4F-462B-B79D-6CCF7442F58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739" y="195868"/>
            <a:ext cx="8466986" cy="576000"/>
          </a:xfrm>
          <a:prstGeom prst="rect">
            <a:avLst/>
          </a:prstGeom>
        </p:spPr>
        <p:txBody>
          <a:bodyPr/>
          <a:lstStyle/>
          <a:p>
            <a:r>
              <a:rPr lang="cs-CZ" sz="1800" dirty="0">
                <a:solidFill>
                  <a:schemeClr val="tx1"/>
                </a:solidFill>
              </a:rPr>
              <a:t>Graf 5b. </a:t>
            </a:r>
            <a:r>
              <a:rPr lang="cs-CZ" sz="1800" b="0" dirty="0">
                <a:solidFill>
                  <a:schemeClr val="tx1"/>
                </a:solidFill>
              </a:rPr>
              <a:t>Proočkovanost populace s nárokem na 2. posilující dávku, stav k 28. 2. 2023</a:t>
            </a:r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91BB0540-AA82-4510-BE55-527D2D86A3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2388669"/>
              </p:ext>
            </p:extLst>
          </p:nvPr>
        </p:nvGraphicFramePr>
        <p:xfrm>
          <a:off x="999133" y="1136053"/>
          <a:ext cx="10449917" cy="5238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19400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C600B12D-4614-40DC-ADF3-71119741EC3E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116471" y="191009"/>
            <a:ext cx="9341381" cy="576000"/>
          </a:xfrm>
          <a:prstGeom prst="rect">
            <a:avLst/>
          </a:prstGeom>
        </p:spPr>
        <p:txBody>
          <a:bodyPr/>
          <a:lstStyle/>
          <a:p>
            <a:r>
              <a:rPr lang="cs-CZ" sz="1800" dirty="0">
                <a:solidFill>
                  <a:schemeClr val="tx1"/>
                </a:solidFill>
              </a:rPr>
              <a:t>Graf 6. </a:t>
            </a:r>
            <a:r>
              <a:rPr lang="cs-CZ" sz="1800" b="0" dirty="0">
                <a:solidFill>
                  <a:schemeClr val="tx1"/>
                </a:solidFill>
              </a:rPr>
              <a:t>Proočkovanost populace 2. posilující dávkou, stav k 28. 2. 2023</a:t>
            </a:r>
            <a:endParaRPr lang="en-US" sz="1800" b="0" dirty="0">
              <a:solidFill>
                <a:schemeClr val="tx1"/>
              </a:solidFill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7950A5A9-03FF-4D36-A82E-1DDF55C63FC6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" y="2061927"/>
            <a:ext cx="5342697" cy="3248897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66E73ECE-5CE6-4068-AFE8-1319DDFFE0B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86504" y="2061926"/>
            <a:ext cx="5342697" cy="3248896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19D67C-C62A-4E0C-BE96-022F6AB667B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052275" y="1401157"/>
            <a:ext cx="32381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věku 18 a více let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6B752A07-6386-4FAA-A971-9B557FBF9564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7520162" y="1395106"/>
            <a:ext cx="32381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 věku 65 a více let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D739AA2-B0FA-403C-998C-8EEE72D00F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476924" y="1126052"/>
            <a:ext cx="32381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et očkovaný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100 obyvatel</a:t>
            </a:r>
          </a:p>
        </p:txBody>
      </p:sp>
      <p:pic>
        <p:nvPicPr>
          <p:cNvPr id="5" name="Obrázek 4" descr="Obsah obrázku text&#10;&#10;Popis byl vytvořen automaticky">
            <a:extLst>
              <a:ext uri="{FF2B5EF4-FFF2-40B4-BE49-F238E27FC236}">
                <a16:creationId xmlns:a16="http://schemas.microsoft.com/office/drawing/2014/main" id="{649846B2-5776-43B0-A0AE-58F849585A4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7" t="1286" r="84532" b="46431"/>
          <a:stretch/>
        </p:blipFill>
        <p:spPr>
          <a:xfrm>
            <a:off x="5331600" y="1728000"/>
            <a:ext cx="1512000" cy="358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300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ovéPole 7">
            <a:extLst>
              <a:ext uri="{FF2B5EF4-FFF2-40B4-BE49-F238E27FC236}">
                <a16:creationId xmlns:a16="http://schemas.microsoft.com/office/drawing/2014/main" id="{2741402B-9639-4B8A-B00C-71CBDDC62C0A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81739" y="708607"/>
            <a:ext cx="286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ECDC, 23. 2. 2023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 rot="16200000">
            <a:off x="-2042482" y="3387735"/>
            <a:ext cx="4955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sob s vykázaným očkováním druhou posilující dávkou z počtu obyvatel</a:t>
            </a:r>
          </a:p>
        </p:txBody>
      </p:sp>
      <p:graphicFrame>
        <p:nvGraphicFramePr>
          <p:cNvPr id="17" name="Zástupný symbol pro obsah 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32014" y="1082567"/>
          <a:ext cx="7601681" cy="54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ovéPole 17">
            <a:extLst>
              <a:ext uri="{FF2B5EF4-FFF2-40B4-BE49-F238E27FC236}">
                <a16:creationId xmlns:a16="http://schemas.microsoft.com/office/drawing/2014/main" id="{4A95BFBF-39C9-46E4-896B-CD004EFCFEAA}"/>
              </a:ext>
            </a:extLst>
          </p:cNvPr>
          <p:cNvSpPr txBox="1"/>
          <p:nvPr/>
        </p:nvSpPr>
        <p:spPr>
          <a:xfrm>
            <a:off x="700106" y="6193805"/>
            <a:ext cx="73900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íl osob s vykázaným očkováním první posilující dávkou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 počtu obyvatel</a:t>
            </a:r>
          </a:p>
        </p:txBody>
      </p:sp>
      <p:sp>
        <p:nvSpPr>
          <p:cNvPr id="11" name="Nadpis 2">
            <a:extLst>
              <a:ext uri="{FF2B5EF4-FFF2-40B4-BE49-F238E27FC236}">
                <a16:creationId xmlns:a16="http://schemas.microsoft.com/office/drawing/2014/main" id="{7805253C-2EEE-4318-9184-434C7984A8A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1739" y="2"/>
            <a:ext cx="10991111" cy="522477"/>
          </a:xfrm>
        </p:spPr>
        <p:txBody>
          <a:bodyPr>
            <a:noAutofit/>
          </a:bodyPr>
          <a:lstStyle/>
          <a:p>
            <a:r>
              <a:rPr lang="cs-CZ" sz="1600" dirty="0">
                <a:solidFill>
                  <a:schemeClr val="tx1"/>
                </a:solidFill>
                <a:latin typeface="+mj-lt"/>
              </a:rPr>
              <a:t>Graf 7. </a:t>
            </a:r>
            <a:r>
              <a:rPr lang="cs-CZ" sz="1600" b="0" dirty="0">
                <a:solidFill>
                  <a:schemeClr val="tx1"/>
                </a:solidFill>
                <a:latin typeface="+mj-lt"/>
              </a:rPr>
              <a:t>Proočkovanost populace zemí EU a EHP 1. a 2. posilující dávkou očkování proti COVID-19</a:t>
            </a:r>
            <a:endParaRPr lang="cs-CZ" sz="1600" b="0" u="sng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3" name="Obdélník 12"/>
          <p:cNvSpPr/>
          <p:nvPr>
            <p:custDataLst>
              <p:tags r:id="rId3"/>
            </p:custDataLst>
          </p:nvPr>
        </p:nvSpPr>
        <p:spPr>
          <a:xfrm>
            <a:off x="4908703" y="431554"/>
            <a:ext cx="7075774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3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lenské státy mohou reportovat údaje kdykoli, požaduje se však od nich, aby to učinily alespoň dvakrát týdně. S ohledem na tento fakt lze pozorovat určité nesrovnalosti mezi čísly zveřejněnými ECDC a údaji uvedenými na oficiálních webových stránkách jednotlivých zemí. 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7AA19923-0043-E3D6-9B15-3D518A5DF8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4810059"/>
              </p:ext>
            </p:extLst>
          </p:nvPr>
        </p:nvGraphicFramePr>
        <p:xfrm>
          <a:off x="8090120" y="1157338"/>
          <a:ext cx="3894357" cy="504623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49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88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0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7118"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emě / zkratka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cs-CZ" sz="1200" dirty="0"/>
                        <a:t>Zkratka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/>
                        <a:t>Země / zkratka</a:t>
                      </a:r>
                      <a:endParaRPr lang="cs-CZ" sz="1200" dirty="0">
                        <a:latin typeface="+mn-lt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none" dirty="0"/>
                        <a:t>Zkratka</a:t>
                      </a:r>
                      <a:endParaRPr lang="cs-CZ" sz="1200" u="none" dirty="0"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Belg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B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Maďar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HU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Bulhar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BG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Malt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M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Česká republik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CZ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ěmec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Dá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DK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izozem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NL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Esto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E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Nor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N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Fi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FI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Pol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L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Franc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FR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Portugal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P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Chorvat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HR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Rakou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A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Ir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Rumu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R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u="none" strike="noStrike" kern="1200" dirty="0">
                          <a:effectLst/>
                        </a:rPr>
                        <a:t>Island</a:t>
                      </a:r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effectLst/>
                        </a:rPr>
                        <a:t>IS</a:t>
                      </a:r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cs-CZ" sz="1200" u="none" strike="noStrike" kern="1200" dirty="0">
                          <a:effectLst/>
                        </a:rPr>
                        <a:t>Řecko</a:t>
                      </a:r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200" u="none" strike="noStrike" kern="1200" dirty="0">
                          <a:effectLst/>
                        </a:rPr>
                        <a:t>EL</a:t>
                      </a:r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Itál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I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Slove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SK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Kypr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CY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Slovi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SI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Lichtenštejn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LI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Španěl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ES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Litva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LT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Švéd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S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Lotyš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LV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Velká Británie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UK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856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Lucembursko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</a:rPr>
                        <a:t>LU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2323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  <p:tag name="SLIDEFAB_SHAPECONDITIONMETACTIONDELETE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False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4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5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OVID barvy">
    <a:dk1>
      <a:srgbClr val="000000"/>
    </a:dk1>
    <a:lt1>
      <a:srgbClr val="FFFFFF"/>
    </a:lt1>
    <a:dk2>
      <a:srgbClr val="D31145"/>
    </a:dk2>
    <a:lt2>
      <a:srgbClr val="FFFFFF"/>
    </a:lt2>
    <a:accent1>
      <a:srgbClr val="D31145"/>
    </a:accent1>
    <a:accent2>
      <a:srgbClr val="305983"/>
    </a:accent2>
    <a:accent3>
      <a:srgbClr val="00CD61"/>
    </a:accent3>
    <a:accent4>
      <a:srgbClr val="4010B7"/>
    </a:accent4>
    <a:accent5>
      <a:srgbClr val="E8EAEA"/>
    </a:accent5>
    <a:accent6>
      <a:srgbClr val="690923"/>
    </a:accent6>
    <a:hlink>
      <a:srgbClr val="FFFFFF"/>
    </a:hlink>
    <a:folHlink>
      <a:srgbClr val="FF000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67</TotalTime>
  <Words>822</Words>
  <Application>Microsoft Office PowerPoint</Application>
  <PresentationFormat>Širokoúhlá obrazovka</PresentationFormat>
  <Paragraphs>225</Paragraphs>
  <Slides>9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Office Theme</vt:lpstr>
      <vt:lpstr>1_Motiv Office</vt:lpstr>
      <vt:lpstr>2_Motiv Office</vt:lpstr>
      <vt:lpstr>14_Motiv Office</vt:lpstr>
      <vt:lpstr>Motiv Office</vt:lpstr>
      <vt:lpstr>Graf 1. Nadúmrtí v letech 2020 – 2022 u celé populace ČR</vt:lpstr>
      <vt:lpstr>Prezentace aplikace PowerPoint</vt:lpstr>
      <vt:lpstr>Prezentace aplikace PowerPoint</vt:lpstr>
      <vt:lpstr>Prezentace aplikace PowerPoint</vt:lpstr>
      <vt:lpstr>Prezentace aplikace PowerPoint</vt:lpstr>
      <vt:lpstr>Graf 5a. Proočkovanost populace, stav k 28. 2. 2023</vt:lpstr>
      <vt:lpstr>Graf 5b. Proočkovanost populace s nárokem na 2. posilující dávku, stav k 28. 2. 2023</vt:lpstr>
      <vt:lpstr>Graf 6. Proočkovanost populace 2. posilující dávkou, stav k 28. 2. 2023</vt:lpstr>
      <vt:lpstr>Graf 7. Proočkovanost populace zemí EU a EHP 1. a 2. posilující dávkou očkování proti COVID-1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rkovský Jiří RNDr. Ph.D.</dc:creator>
  <cp:lastModifiedBy>Dušek Ladislav prof. RNDr. Ph.D.</cp:lastModifiedBy>
  <cp:revision>104</cp:revision>
  <dcterms:created xsi:type="dcterms:W3CDTF">2022-04-14T12:00:16Z</dcterms:created>
  <dcterms:modified xsi:type="dcterms:W3CDTF">2023-03-02T07:39:43Z</dcterms:modified>
</cp:coreProperties>
</file>